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slideLayouts/slideLayout32.xml" ContentType="application/vnd.openxmlformats-officedocument.presentationml.slideLayout+xml"/>
  <Override PartName="/ppt/theme/theme3.xml" ContentType="application/vnd.openxmlformats-officedocument.theme+xml"/>
  <Override PartName="/ppt/tags/tag230.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notesSlides/notesSlide1.xml" ContentType="application/vnd.openxmlformats-officedocument.presentationml.notesSlide+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48" r:id="rId5"/>
    <p:sldMasterId id="2147483864" r:id="rId6"/>
    <p:sldMasterId id="2147483899" r:id="rId7"/>
    <p:sldMasterId id="2147483901" r:id="rId8"/>
  </p:sldMasterIdLst>
  <p:notesMasterIdLst>
    <p:notesMasterId r:id="rId15"/>
  </p:notesMasterIdLst>
  <p:handoutMasterIdLst>
    <p:handoutMasterId r:id="rId16"/>
  </p:handoutMasterIdLst>
  <p:sldIdLst>
    <p:sldId id="2147478865" r:id="rId9"/>
    <p:sldId id="2147478766" r:id="rId10"/>
    <p:sldId id="2147478764" r:id="rId11"/>
    <p:sldId id="2147478765" r:id="rId12"/>
    <p:sldId id="2147478876" r:id="rId13"/>
    <p:sldId id="2147478873" r:id="rId14"/>
  </p:sldIdLst>
  <p:sldSz cx="12192000" cy="6858000"/>
  <p:notesSz cx="7102475" cy="9388475"/>
  <p:embeddedFontLst>
    <p:embeddedFont>
      <p:font typeface="Georgia" panose="02040502050405020303" pitchFamily="18" charset="0"/>
      <p:regular r:id="rId17"/>
      <p:bold r:id="rId18"/>
      <p:italic r:id="rId19"/>
      <p:boldItalic r:id="rId20"/>
    </p:embeddedFont>
    <p:embeddedFont>
      <p:font typeface="Segoe UI" panose="020B0502040204020203" pitchFamily="34" charset="0"/>
      <p:regular r:id="rId21"/>
      <p:bold r:id="rId22"/>
      <p:italic r:id="rId23"/>
      <p:boldItalic r:id="rId24"/>
    </p:embeddedFont>
  </p:embeddedFontLst>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61F79"/>
    <a:srgbClr val="7C858C"/>
    <a:srgbClr val="D9D9D9"/>
    <a:srgbClr val="0159A2"/>
    <a:srgbClr val="00AEC7"/>
    <a:srgbClr val="800080"/>
    <a:srgbClr val="0000FF"/>
    <a:srgbClr val="DDDDDD"/>
    <a:srgbClr val="DD8080"/>
    <a:srgbClr val="8080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26E0D04-1EC5-4B50-B943-E3F4F3109E6E}" v="715" dt="2026-01-30T19:13:37.260"/>
    <p1510:client id="{9ED09AE5-3FCE-7408-53B1-A5D490DAE51D}" v="142" dt="2026-01-30T18:07:05.340"/>
    <p1510:client id="{DEFFC68F-C08D-4EFA-B095-AFA1736E1AD7}" v="316" dt="2026-01-30T19:04:45.35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2" d="100"/>
          <a:sy n="62" d="100"/>
        </p:scale>
        <p:origin x="736" y="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 Target="slides/slide5.xml"/><Relationship Id="rId18" Type="http://schemas.openxmlformats.org/officeDocument/2006/relationships/font" Target="fonts/font2.fntdata"/><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font" Target="fonts/font5.fntdata"/><Relationship Id="rId7"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font" Target="fonts/font1.fntdata"/><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font" Target="fonts/font4.fntdata"/><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3.xml"/><Relationship Id="rId24" Type="http://schemas.openxmlformats.org/officeDocument/2006/relationships/font" Target="fonts/font8.fntdata"/><Relationship Id="rId32" Type="http://schemas.microsoft.com/office/2015/10/relationships/revisionInfo" Target="revisionInfo.xml"/><Relationship Id="rId5" Type="http://schemas.openxmlformats.org/officeDocument/2006/relationships/slideMaster" Target="slideMasters/slideMaster1.xml"/><Relationship Id="rId15" Type="http://schemas.openxmlformats.org/officeDocument/2006/relationships/notesMaster" Target="notesMasters/notesMaster1.xml"/><Relationship Id="rId23" Type="http://schemas.openxmlformats.org/officeDocument/2006/relationships/font" Target="fonts/font7.fntdata"/><Relationship Id="rId28" Type="http://schemas.openxmlformats.org/officeDocument/2006/relationships/viewProps" Target="viewProps.xml"/><Relationship Id="rId10" Type="http://schemas.openxmlformats.org/officeDocument/2006/relationships/slide" Target="slides/slide2.xml"/><Relationship Id="rId19" Type="http://schemas.openxmlformats.org/officeDocument/2006/relationships/font" Target="fonts/font3.fntdata"/><Relationship Id="rId31" Type="http://schemas.microsoft.com/office/2016/11/relationships/changesInfo" Target="changesInfos/changesInfo1.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font" Target="fonts/font6.fntdata"/><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co Casiraghi" userId="34c8cd23-4fb6-4298-956c-4a0fecec7678" providerId="ADAL" clId="{121DDFE8-C1B3-488F-AA1B-7A2D8DFD306D}"/>
    <pc:docChg chg="undo custSel addSld delSld modSld">
      <pc:chgData name="Marco Casiraghi" userId="34c8cd23-4fb6-4298-956c-4a0fecec7678" providerId="ADAL" clId="{121DDFE8-C1B3-488F-AA1B-7A2D8DFD306D}" dt="2026-01-30T19:04:45.353" v="2583"/>
      <pc:docMkLst>
        <pc:docMk/>
      </pc:docMkLst>
      <pc:sldChg chg="modSp mod">
        <pc:chgData name="Marco Casiraghi" userId="34c8cd23-4fb6-4298-956c-4a0fecec7678" providerId="ADAL" clId="{121DDFE8-C1B3-488F-AA1B-7A2D8DFD306D}" dt="2026-01-30T01:21:08.875" v="289" actId="20577"/>
        <pc:sldMkLst>
          <pc:docMk/>
          <pc:sldMk cId="3144878466" sldId="2147478764"/>
        </pc:sldMkLst>
        <pc:spChg chg="mod">
          <ac:chgData name="Marco Casiraghi" userId="34c8cd23-4fb6-4298-956c-4a0fecec7678" providerId="ADAL" clId="{121DDFE8-C1B3-488F-AA1B-7A2D8DFD306D}" dt="2026-01-30T01:21:08.875" v="289" actId="20577"/>
          <ac:spMkLst>
            <pc:docMk/>
            <pc:sldMk cId="3144878466" sldId="2147478764"/>
            <ac:spMk id="42" creationId="{7A7C3AB7-DD65-0180-FF35-494271FB0C96}"/>
          </ac:spMkLst>
        </pc:spChg>
      </pc:sldChg>
      <pc:sldChg chg="addSp delSp modSp mod">
        <pc:chgData name="Marco Casiraghi" userId="34c8cd23-4fb6-4298-956c-4a0fecec7678" providerId="ADAL" clId="{121DDFE8-C1B3-488F-AA1B-7A2D8DFD306D}" dt="2026-01-30T01:26:48.728" v="2105" actId="478"/>
        <pc:sldMkLst>
          <pc:docMk/>
          <pc:sldMk cId="612621599" sldId="2147478765"/>
        </pc:sldMkLst>
        <pc:spChg chg="add del mod">
          <ac:chgData name="Marco Casiraghi" userId="34c8cd23-4fb6-4298-956c-4a0fecec7678" providerId="ADAL" clId="{121DDFE8-C1B3-488F-AA1B-7A2D8DFD306D}" dt="2026-01-30T01:26:48.728" v="2105" actId="478"/>
          <ac:spMkLst>
            <pc:docMk/>
            <pc:sldMk cId="612621599" sldId="2147478765"/>
            <ac:spMk id="7" creationId="{C5F739F3-16F7-AD21-8BE1-1F7ABA0EE817}"/>
          </ac:spMkLst>
        </pc:spChg>
        <pc:spChg chg="mod">
          <ac:chgData name="Marco Casiraghi" userId="34c8cd23-4fb6-4298-956c-4a0fecec7678" providerId="ADAL" clId="{121DDFE8-C1B3-488F-AA1B-7A2D8DFD306D}" dt="2026-01-30T01:26:47.107" v="2104" actId="554"/>
          <ac:spMkLst>
            <pc:docMk/>
            <pc:sldMk cId="612621599" sldId="2147478765"/>
            <ac:spMk id="30" creationId="{777FA114-EF0E-33E9-1845-64FEE8DE2B8C}"/>
          </ac:spMkLst>
        </pc:spChg>
      </pc:sldChg>
      <pc:sldChg chg="addSp delSp modSp mod">
        <pc:chgData name="Marco Casiraghi" userId="34c8cd23-4fb6-4298-956c-4a0fecec7678" providerId="ADAL" clId="{121DDFE8-C1B3-488F-AA1B-7A2D8DFD306D}" dt="2026-01-30T18:58:08.445" v="2479"/>
        <pc:sldMkLst>
          <pc:docMk/>
          <pc:sldMk cId="1349677510" sldId="2147478766"/>
        </pc:sldMkLst>
        <pc:spChg chg="mod">
          <ac:chgData name="Marco Casiraghi" userId="34c8cd23-4fb6-4298-956c-4a0fecec7678" providerId="ADAL" clId="{121DDFE8-C1B3-488F-AA1B-7A2D8DFD306D}" dt="2026-01-30T18:58:08.395" v="2455" actId="948"/>
          <ac:spMkLst>
            <pc:docMk/>
            <pc:sldMk cId="1349677510" sldId="2147478766"/>
            <ac:spMk id="5" creationId="{68DBA945-F3BF-BAC7-F72F-A27DB3FDB884}"/>
          </ac:spMkLst>
        </pc:spChg>
        <pc:spChg chg="add del mod modVis">
          <ac:chgData name="Marco Casiraghi" userId="34c8cd23-4fb6-4298-956c-4a0fecec7678" providerId="ADAL" clId="{121DDFE8-C1B3-488F-AA1B-7A2D8DFD306D}" dt="2026-01-30T18:58:08.443" v="2477"/>
          <ac:spMkLst>
            <pc:docMk/>
            <pc:sldMk cId="1349677510" sldId="2147478766"/>
            <ac:spMk id="7" creationId="{0853CC3F-48F2-BD95-D57E-881A19760EE4}"/>
          </ac:spMkLst>
        </pc:spChg>
        <pc:graphicFrameChg chg="mod">
          <ac:chgData name="Marco Casiraghi" userId="34c8cd23-4fb6-4298-956c-4a0fecec7678" providerId="ADAL" clId="{121DDFE8-C1B3-488F-AA1B-7A2D8DFD306D}" dt="2026-01-30T18:58:08.445" v="2479"/>
          <ac:graphicFrameMkLst>
            <pc:docMk/>
            <pc:sldMk cId="1349677510" sldId="2147478766"/>
            <ac:graphicFrameMk id="8" creationId="{EF22203A-44A6-96B2-3BBD-79C351E64713}"/>
          </ac:graphicFrameMkLst>
        </pc:graphicFrameChg>
      </pc:sldChg>
      <pc:sldChg chg="addSp delSp modSp add del mod modNotes">
        <pc:chgData name="Marco Casiraghi" userId="34c8cd23-4fb6-4298-956c-4a0fecec7678" providerId="ADAL" clId="{121DDFE8-C1B3-488F-AA1B-7A2D8DFD306D}" dt="2026-01-30T01:28:47.013" v="2332" actId="47"/>
        <pc:sldMkLst>
          <pc:docMk/>
          <pc:sldMk cId="658505162" sldId="2147478809"/>
        </pc:sldMkLst>
        <pc:spChg chg="mod">
          <ac:chgData name="Marco Casiraghi" userId="34c8cd23-4fb6-4298-956c-4a0fecec7678" providerId="ADAL" clId="{121DDFE8-C1B3-488F-AA1B-7A2D8DFD306D}" dt="2026-01-30T01:28:28.175" v="2305" actId="948"/>
          <ac:spMkLst>
            <pc:docMk/>
            <pc:sldMk cId="658505162" sldId="2147478809"/>
            <ac:spMk id="2" creationId="{8609D7A5-30CF-5411-6575-DB064AE65F87}"/>
          </ac:spMkLst>
        </pc:spChg>
        <pc:spChg chg="mod">
          <ac:chgData name="Marco Casiraghi" userId="34c8cd23-4fb6-4298-956c-4a0fecec7678" providerId="ADAL" clId="{121DDFE8-C1B3-488F-AA1B-7A2D8DFD306D}" dt="2026-01-30T01:28:27.591" v="2304"/>
          <ac:spMkLst>
            <pc:docMk/>
            <pc:sldMk cId="658505162" sldId="2147478809"/>
            <ac:spMk id="3" creationId="{334FB7CA-E364-5E48-A2BE-E39E3974078A}"/>
          </ac:spMkLst>
        </pc:spChg>
        <pc:spChg chg="add del mod modVis">
          <ac:chgData name="Marco Casiraghi" userId="34c8cd23-4fb6-4298-956c-4a0fecec7678" providerId="ADAL" clId="{121DDFE8-C1B3-488F-AA1B-7A2D8DFD306D}" dt="2026-01-30T01:28:28.203" v="2327"/>
          <ac:spMkLst>
            <pc:docMk/>
            <pc:sldMk cId="658505162" sldId="2147478809"/>
            <ac:spMk id="4" creationId="{7294D125-EE78-0DA3-16D6-4E8CF4BACBCE}"/>
          </ac:spMkLst>
        </pc:spChg>
        <pc:spChg chg="mod">
          <ac:chgData name="Marco Casiraghi" userId="34c8cd23-4fb6-4298-956c-4a0fecec7678" providerId="ADAL" clId="{121DDFE8-C1B3-488F-AA1B-7A2D8DFD306D}" dt="2026-01-30T01:15:15.681" v="78" actId="165"/>
          <ac:spMkLst>
            <pc:docMk/>
            <pc:sldMk cId="658505162" sldId="2147478809"/>
            <ac:spMk id="61" creationId="{770A753B-744A-340D-4222-C7427A5C1CF1}"/>
          </ac:spMkLst>
        </pc:spChg>
        <pc:spChg chg="mod topLvl">
          <ac:chgData name="Marco Casiraghi" userId="34c8cd23-4fb6-4298-956c-4a0fecec7678" providerId="ADAL" clId="{121DDFE8-C1B3-488F-AA1B-7A2D8DFD306D}" dt="2026-01-30T01:15:15.681" v="78" actId="165"/>
          <ac:spMkLst>
            <pc:docMk/>
            <pc:sldMk cId="658505162" sldId="2147478809"/>
            <ac:spMk id="104" creationId="{0EF80509-575E-E2B1-A4C3-FC7C2FD9B51A}"/>
          </ac:spMkLst>
        </pc:spChg>
        <pc:spChg chg="mod topLvl">
          <ac:chgData name="Marco Casiraghi" userId="34c8cd23-4fb6-4298-956c-4a0fecec7678" providerId="ADAL" clId="{121DDFE8-C1B3-488F-AA1B-7A2D8DFD306D}" dt="2026-01-30T01:15:15.681" v="78" actId="165"/>
          <ac:spMkLst>
            <pc:docMk/>
            <pc:sldMk cId="658505162" sldId="2147478809"/>
            <ac:spMk id="105" creationId="{8D3A4B53-A747-76AF-6430-CCD77C6EA8E0}"/>
          </ac:spMkLst>
        </pc:spChg>
        <pc:spChg chg="mod topLvl">
          <ac:chgData name="Marco Casiraghi" userId="34c8cd23-4fb6-4298-956c-4a0fecec7678" providerId="ADAL" clId="{121DDFE8-C1B3-488F-AA1B-7A2D8DFD306D}" dt="2026-01-30T01:15:15.681" v="78" actId="165"/>
          <ac:spMkLst>
            <pc:docMk/>
            <pc:sldMk cId="658505162" sldId="2147478809"/>
            <ac:spMk id="127" creationId="{0EC51E23-7FE1-7366-60FF-50E1DA6DE0F6}"/>
          </ac:spMkLst>
        </pc:spChg>
        <pc:spChg chg="mod topLvl">
          <ac:chgData name="Marco Casiraghi" userId="34c8cd23-4fb6-4298-956c-4a0fecec7678" providerId="ADAL" clId="{121DDFE8-C1B3-488F-AA1B-7A2D8DFD306D}" dt="2026-01-30T01:15:15.681" v="78" actId="165"/>
          <ac:spMkLst>
            <pc:docMk/>
            <pc:sldMk cId="658505162" sldId="2147478809"/>
            <ac:spMk id="195" creationId="{689F0305-905C-D02F-4D9A-39847410A57F}"/>
          </ac:spMkLst>
        </pc:spChg>
        <pc:spChg chg="mod topLvl">
          <ac:chgData name="Marco Casiraghi" userId="34c8cd23-4fb6-4298-956c-4a0fecec7678" providerId="ADAL" clId="{121DDFE8-C1B3-488F-AA1B-7A2D8DFD306D}" dt="2026-01-30T01:15:15.681" v="78" actId="165"/>
          <ac:spMkLst>
            <pc:docMk/>
            <pc:sldMk cId="658505162" sldId="2147478809"/>
            <ac:spMk id="200" creationId="{D934C53C-F70E-E9B3-2D1D-C9FAFE2E987E}"/>
          </ac:spMkLst>
        </pc:spChg>
        <pc:spChg chg="mod topLvl">
          <ac:chgData name="Marco Casiraghi" userId="34c8cd23-4fb6-4298-956c-4a0fecec7678" providerId="ADAL" clId="{121DDFE8-C1B3-488F-AA1B-7A2D8DFD306D}" dt="2026-01-30T01:15:15.681" v="78" actId="165"/>
          <ac:spMkLst>
            <pc:docMk/>
            <pc:sldMk cId="658505162" sldId="2147478809"/>
            <ac:spMk id="234" creationId="{CD88895F-BCAB-2B10-678E-0975A177EB4B}"/>
          </ac:spMkLst>
        </pc:spChg>
        <pc:spChg chg="mod topLvl">
          <ac:chgData name="Marco Casiraghi" userId="34c8cd23-4fb6-4298-956c-4a0fecec7678" providerId="ADAL" clId="{121DDFE8-C1B3-488F-AA1B-7A2D8DFD306D}" dt="2026-01-30T01:15:15.681" v="78" actId="165"/>
          <ac:spMkLst>
            <pc:docMk/>
            <pc:sldMk cId="658505162" sldId="2147478809"/>
            <ac:spMk id="246" creationId="{F4C63EAC-2611-343D-F470-43FA040C4E88}"/>
          </ac:spMkLst>
        </pc:spChg>
        <pc:spChg chg="mod topLvl">
          <ac:chgData name="Marco Casiraghi" userId="34c8cd23-4fb6-4298-956c-4a0fecec7678" providerId="ADAL" clId="{121DDFE8-C1B3-488F-AA1B-7A2D8DFD306D}" dt="2026-01-30T01:15:15.681" v="78" actId="165"/>
          <ac:spMkLst>
            <pc:docMk/>
            <pc:sldMk cId="658505162" sldId="2147478809"/>
            <ac:spMk id="416" creationId="{BE9EEBC8-E437-2E73-6EA8-7B4F88436CB1}"/>
          </ac:spMkLst>
        </pc:spChg>
        <pc:spChg chg="mod topLvl">
          <ac:chgData name="Marco Casiraghi" userId="34c8cd23-4fb6-4298-956c-4a0fecec7678" providerId="ADAL" clId="{121DDFE8-C1B3-488F-AA1B-7A2D8DFD306D}" dt="2026-01-30T01:15:15.681" v="78" actId="165"/>
          <ac:spMkLst>
            <pc:docMk/>
            <pc:sldMk cId="658505162" sldId="2147478809"/>
            <ac:spMk id="420" creationId="{1D0AC88B-D2AA-C7BC-33E5-B55B1AB7E7BE}"/>
          </ac:spMkLst>
        </pc:spChg>
        <pc:graphicFrameChg chg="mod">
          <ac:chgData name="Marco Casiraghi" userId="34c8cd23-4fb6-4298-956c-4a0fecec7678" providerId="ADAL" clId="{121DDFE8-C1B3-488F-AA1B-7A2D8DFD306D}" dt="2026-01-30T01:28:28.756" v="2331"/>
          <ac:graphicFrameMkLst>
            <pc:docMk/>
            <pc:sldMk cId="658505162" sldId="2147478809"/>
            <ac:graphicFrameMk id="5" creationId="{25C76168-77BE-F1A0-B714-52AEC3107BEF}"/>
          </ac:graphicFrameMkLst>
        </pc:graphicFrameChg>
      </pc:sldChg>
      <pc:sldChg chg="delSp modSp del mod">
        <pc:chgData name="Marco Casiraghi" userId="34c8cd23-4fb6-4298-956c-4a0fecec7678" providerId="ADAL" clId="{121DDFE8-C1B3-488F-AA1B-7A2D8DFD306D}" dt="2026-01-30T01:17:48.398" v="158" actId="47"/>
        <pc:sldMkLst>
          <pc:docMk/>
          <pc:sldMk cId="832045554" sldId="2147478810"/>
        </pc:sldMkLst>
        <pc:spChg chg="mod topLvl">
          <ac:chgData name="Marco Casiraghi" userId="34c8cd23-4fb6-4298-956c-4a0fecec7678" providerId="ADAL" clId="{121DDFE8-C1B3-488F-AA1B-7A2D8DFD306D}" dt="2026-01-30T01:15:51.677" v="84" actId="165"/>
          <ac:spMkLst>
            <pc:docMk/>
            <pc:sldMk cId="832045554" sldId="2147478810"/>
            <ac:spMk id="59" creationId="{39B703CB-AD79-DE54-9848-D1AD3DC38A7C}"/>
          </ac:spMkLst>
        </pc:spChg>
        <pc:spChg chg="mod topLvl">
          <ac:chgData name="Marco Casiraghi" userId="34c8cd23-4fb6-4298-956c-4a0fecec7678" providerId="ADAL" clId="{121DDFE8-C1B3-488F-AA1B-7A2D8DFD306D}" dt="2026-01-30T01:15:51.677" v="84" actId="165"/>
          <ac:spMkLst>
            <pc:docMk/>
            <pc:sldMk cId="832045554" sldId="2147478810"/>
            <ac:spMk id="92" creationId="{CF22C180-88C3-C91D-8D1C-E46D39D3ACDF}"/>
          </ac:spMkLst>
        </pc:spChg>
        <pc:spChg chg="mod topLvl">
          <ac:chgData name="Marco Casiraghi" userId="34c8cd23-4fb6-4298-956c-4a0fecec7678" providerId="ADAL" clId="{121DDFE8-C1B3-488F-AA1B-7A2D8DFD306D}" dt="2026-01-30T01:15:51.677" v="84" actId="165"/>
          <ac:spMkLst>
            <pc:docMk/>
            <pc:sldMk cId="832045554" sldId="2147478810"/>
            <ac:spMk id="114" creationId="{C06FABD8-2E6E-98EA-6C8F-08A37FD49882}"/>
          </ac:spMkLst>
        </pc:spChg>
        <pc:spChg chg="mod topLvl">
          <ac:chgData name="Marco Casiraghi" userId="34c8cd23-4fb6-4298-956c-4a0fecec7678" providerId="ADAL" clId="{121DDFE8-C1B3-488F-AA1B-7A2D8DFD306D}" dt="2026-01-30T01:15:51.677" v="84" actId="165"/>
          <ac:spMkLst>
            <pc:docMk/>
            <pc:sldMk cId="832045554" sldId="2147478810"/>
            <ac:spMk id="118" creationId="{34190546-C9D5-86B6-E5A7-F398EFC97CBA}"/>
          </ac:spMkLst>
        </pc:spChg>
        <pc:spChg chg="mod">
          <ac:chgData name="Marco Casiraghi" userId="34c8cd23-4fb6-4298-956c-4a0fecec7678" providerId="ADAL" clId="{121DDFE8-C1B3-488F-AA1B-7A2D8DFD306D}" dt="2026-01-30T01:15:50.515" v="83" actId="20577"/>
          <ac:spMkLst>
            <pc:docMk/>
            <pc:sldMk cId="832045554" sldId="2147478810"/>
            <ac:spMk id="196" creationId="{3A804F87-85D1-9F48-0D73-A1779AEAC04D}"/>
          </ac:spMkLst>
        </pc:spChg>
        <pc:spChg chg="mod topLvl">
          <ac:chgData name="Marco Casiraghi" userId="34c8cd23-4fb6-4298-956c-4a0fecec7678" providerId="ADAL" clId="{121DDFE8-C1B3-488F-AA1B-7A2D8DFD306D}" dt="2026-01-30T01:15:51.677" v="84" actId="165"/>
          <ac:spMkLst>
            <pc:docMk/>
            <pc:sldMk cId="832045554" sldId="2147478810"/>
            <ac:spMk id="219" creationId="{8D8FAD05-745C-CE05-3E5D-A709FBF7AF13}"/>
          </ac:spMkLst>
        </pc:spChg>
        <pc:spChg chg="mod topLvl">
          <ac:chgData name="Marco Casiraghi" userId="34c8cd23-4fb6-4298-956c-4a0fecec7678" providerId="ADAL" clId="{121DDFE8-C1B3-488F-AA1B-7A2D8DFD306D}" dt="2026-01-30T01:15:51.677" v="84" actId="165"/>
          <ac:spMkLst>
            <pc:docMk/>
            <pc:sldMk cId="832045554" sldId="2147478810"/>
            <ac:spMk id="221" creationId="{BF991127-D711-6B78-E6D0-8BF503575B93}"/>
          </ac:spMkLst>
        </pc:spChg>
        <pc:spChg chg="mod topLvl">
          <ac:chgData name="Marco Casiraghi" userId="34c8cd23-4fb6-4298-956c-4a0fecec7678" providerId="ADAL" clId="{121DDFE8-C1B3-488F-AA1B-7A2D8DFD306D}" dt="2026-01-30T01:15:51.677" v="84" actId="165"/>
          <ac:spMkLst>
            <pc:docMk/>
            <pc:sldMk cId="832045554" sldId="2147478810"/>
            <ac:spMk id="224" creationId="{C0EBC296-5F80-3CDF-DDB0-ED56343C394F}"/>
          </ac:spMkLst>
        </pc:spChg>
        <pc:spChg chg="mod topLvl">
          <ac:chgData name="Marco Casiraghi" userId="34c8cd23-4fb6-4298-956c-4a0fecec7678" providerId="ADAL" clId="{121DDFE8-C1B3-488F-AA1B-7A2D8DFD306D}" dt="2026-01-30T01:15:51.677" v="84" actId="165"/>
          <ac:spMkLst>
            <pc:docMk/>
            <pc:sldMk cId="832045554" sldId="2147478810"/>
            <ac:spMk id="239" creationId="{935CC98B-F42D-2073-5063-8633FA8B510C}"/>
          </ac:spMkLst>
        </pc:spChg>
        <pc:spChg chg="mod topLvl">
          <ac:chgData name="Marco Casiraghi" userId="34c8cd23-4fb6-4298-956c-4a0fecec7678" providerId="ADAL" clId="{121DDFE8-C1B3-488F-AA1B-7A2D8DFD306D}" dt="2026-01-30T01:15:51.677" v="84" actId="165"/>
          <ac:spMkLst>
            <pc:docMk/>
            <pc:sldMk cId="832045554" sldId="2147478810"/>
            <ac:spMk id="240" creationId="{8B1B9465-BBEF-468B-5A6D-17AA76D2C861}"/>
          </ac:spMkLst>
        </pc:spChg>
        <pc:spChg chg="mod topLvl">
          <ac:chgData name="Marco Casiraghi" userId="34c8cd23-4fb6-4298-956c-4a0fecec7678" providerId="ADAL" clId="{121DDFE8-C1B3-488F-AA1B-7A2D8DFD306D}" dt="2026-01-30T01:15:51.677" v="84" actId="165"/>
          <ac:spMkLst>
            <pc:docMk/>
            <pc:sldMk cId="832045554" sldId="2147478810"/>
            <ac:spMk id="249" creationId="{979450C7-44EE-86A7-6237-5F10958FA646}"/>
          </ac:spMkLst>
        </pc:spChg>
      </pc:sldChg>
      <pc:sldChg chg="delSp modSp del">
        <pc:chgData name="Marco Casiraghi" userId="34c8cd23-4fb6-4298-956c-4a0fecec7678" providerId="ADAL" clId="{121DDFE8-C1B3-488F-AA1B-7A2D8DFD306D}" dt="2026-01-30T01:17:49.329" v="159" actId="47"/>
        <pc:sldMkLst>
          <pc:docMk/>
          <pc:sldMk cId="2101162214" sldId="2147478811"/>
        </pc:sldMkLst>
        <pc:spChg chg="mod topLvl">
          <ac:chgData name="Marco Casiraghi" userId="34c8cd23-4fb6-4298-956c-4a0fecec7678" providerId="ADAL" clId="{121DDFE8-C1B3-488F-AA1B-7A2D8DFD306D}" dt="2026-01-30T01:16:52.156" v="93" actId="165"/>
          <ac:spMkLst>
            <pc:docMk/>
            <pc:sldMk cId="2101162214" sldId="2147478811"/>
            <ac:spMk id="55" creationId="{B41EE798-16EB-A36E-9466-65DE5EDD043B}"/>
          </ac:spMkLst>
        </pc:spChg>
        <pc:spChg chg="mod topLvl">
          <ac:chgData name="Marco Casiraghi" userId="34c8cd23-4fb6-4298-956c-4a0fecec7678" providerId="ADAL" clId="{121DDFE8-C1B3-488F-AA1B-7A2D8DFD306D}" dt="2026-01-30T01:16:52.156" v="93" actId="165"/>
          <ac:spMkLst>
            <pc:docMk/>
            <pc:sldMk cId="2101162214" sldId="2147478811"/>
            <ac:spMk id="69" creationId="{DD4C2511-BC24-74E9-8A53-AADB62ABD0B3}"/>
          </ac:spMkLst>
        </pc:spChg>
        <pc:spChg chg="mod topLvl">
          <ac:chgData name="Marco Casiraghi" userId="34c8cd23-4fb6-4298-956c-4a0fecec7678" providerId="ADAL" clId="{121DDFE8-C1B3-488F-AA1B-7A2D8DFD306D}" dt="2026-01-30T01:16:52.156" v="93" actId="165"/>
          <ac:spMkLst>
            <pc:docMk/>
            <pc:sldMk cId="2101162214" sldId="2147478811"/>
            <ac:spMk id="76" creationId="{C1076876-883C-645C-0A0B-5588B180B1A3}"/>
          </ac:spMkLst>
        </pc:spChg>
        <pc:spChg chg="mod topLvl">
          <ac:chgData name="Marco Casiraghi" userId="34c8cd23-4fb6-4298-956c-4a0fecec7678" providerId="ADAL" clId="{121DDFE8-C1B3-488F-AA1B-7A2D8DFD306D}" dt="2026-01-30T01:16:52.156" v="93" actId="165"/>
          <ac:spMkLst>
            <pc:docMk/>
            <pc:sldMk cId="2101162214" sldId="2147478811"/>
            <ac:spMk id="123" creationId="{D20C5F50-CF8C-0AEC-92E2-911D1653F109}"/>
          </ac:spMkLst>
        </pc:spChg>
        <pc:spChg chg="mod topLvl">
          <ac:chgData name="Marco Casiraghi" userId="34c8cd23-4fb6-4298-956c-4a0fecec7678" providerId="ADAL" clId="{121DDFE8-C1B3-488F-AA1B-7A2D8DFD306D}" dt="2026-01-30T01:16:52.156" v="93" actId="165"/>
          <ac:spMkLst>
            <pc:docMk/>
            <pc:sldMk cId="2101162214" sldId="2147478811"/>
            <ac:spMk id="194" creationId="{BB0E9916-B5DC-99C8-FF6E-EC3D68D8AEFB}"/>
          </ac:spMkLst>
        </pc:spChg>
        <pc:spChg chg="mod topLvl">
          <ac:chgData name="Marco Casiraghi" userId="34c8cd23-4fb6-4298-956c-4a0fecec7678" providerId="ADAL" clId="{121DDFE8-C1B3-488F-AA1B-7A2D8DFD306D}" dt="2026-01-30T01:16:52.156" v="93" actId="165"/>
          <ac:spMkLst>
            <pc:docMk/>
            <pc:sldMk cId="2101162214" sldId="2147478811"/>
            <ac:spMk id="207" creationId="{DBC14625-E9D3-A2DB-8778-5DB8338E26AB}"/>
          </ac:spMkLst>
        </pc:spChg>
        <pc:spChg chg="mod topLvl">
          <ac:chgData name="Marco Casiraghi" userId="34c8cd23-4fb6-4298-956c-4a0fecec7678" providerId="ADAL" clId="{121DDFE8-C1B3-488F-AA1B-7A2D8DFD306D}" dt="2026-01-30T01:16:52.156" v="93" actId="165"/>
          <ac:spMkLst>
            <pc:docMk/>
            <pc:sldMk cId="2101162214" sldId="2147478811"/>
            <ac:spMk id="209" creationId="{E56883BA-99C1-F162-A969-969BB58911CA}"/>
          </ac:spMkLst>
        </pc:spChg>
        <pc:spChg chg="mod topLvl">
          <ac:chgData name="Marco Casiraghi" userId="34c8cd23-4fb6-4298-956c-4a0fecec7678" providerId="ADAL" clId="{121DDFE8-C1B3-488F-AA1B-7A2D8DFD306D}" dt="2026-01-30T01:16:52.156" v="93" actId="165"/>
          <ac:spMkLst>
            <pc:docMk/>
            <pc:sldMk cId="2101162214" sldId="2147478811"/>
            <ac:spMk id="228" creationId="{9C32742B-F6B6-AC12-5119-8CDE0BDCEDD5}"/>
          </ac:spMkLst>
        </pc:spChg>
        <pc:spChg chg="mod topLvl">
          <ac:chgData name="Marco Casiraghi" userId="34c8cd23-4fb6-4298-956c-4a0fecec7678" providerId="ADAL" clId="{121DDFE8-C1B3-488F-AA1B-7A2D8DFD306D}" dt="2026-01-30T01:16:52.156" v="93" actId="165"/>
          <ac:spMkLst>
            <pc:docMk/>
            <pc:sldMk cId="2101162214" sldId="2147478811"/>
            <ac:spMk id="247" creationId="{F95D3114-88F9-3A43-B9BD-F9BF97295942}"/>
          </ac:spMkLst>
        </pc:spChg>
        <pc:spChg chg="mod topLvl">
          <ac:chgData name="Marco Casiraghi" userId="34c8cd23-4fb6-4298-956c-4a0fecec7678" providerId="ADAL" clId="{121DDFE8-C1B3-488F-AA1B-7A2D8DFD306D}" dt="2026-01-30T01:16:52.156" v="93" actId="165"/>
          <ac:spMkLst>
            <pc:docMk/>
            <pc:sldMk cId="2101162214" sldId="2147478811"/>
            <ac:spMk id="289" creationId="{02A3A5B7-E34C-52BE-230E-765B87172860}"/>
          </ac:spMkLst>
        </pc:spChg>
      </pc:sldChg>
      <pc:sldChg chg="delSp modSp del">
        <pc:chgData name="Marco Casiraghi" userId="34c8cd23-4fb6-4298-956c-4a0fecec7678" providerId="ADAL" clId="{121DDFE8-C1B3-488F-AA1B-7A2D8DFD306D}" dt="2026-01-30T01:18:00.346" v="191" actId="47"/>
        <pc:sldMkLst>
          <pc:docMk/>
          <pc:sldMk cId="1741378291" sldId="2147478864"/>
        </pc:sldMkLst>
        <pc:spChg chg="mod topLvl">
          <ac:chgData name="Marco Casiraghi" userId="34c8cd23-4fb6-4298-956c-4a0fecec7678" providerId="ADAL" clId="{121DDFE8-C1B3-488F-AA1B-7A2D8DFD306D}" dt="2026-01-30T01:17:31.661" v="154" actId="165"/>
          <ac:spMkLst>
            <pc:docMk/>
            <pc:sldMk cId="1741378291" sldId="2147478864"/>
            <ac:spMk id="43" creationId="{56E67AF3-0C38-911D-500F-3F6DC2503691}"/>
          </ac:spMkLst>
        </pc:spChg>
        <pc:spChg chg="mod topLvl">
          <ac:chgData name="Marco Casiraghi" userId="34c8cd23-4fb6-4298-956c-4a0fecec7678" providerId="ADAL" clId="{121DDFE8-C1B3-488F-AA1B-7A2D8DFD306D}" dt="2026-01-30T01:17:31.661" v="154" actId="165"/>
          <ac:spMkLst>
            <pc:docMk/>
            <pc:sldMk cId="1741378291" sldId="2147478864"/>
            <ac:spMk id="47" creationId="{7ED08A13-1BB3-F078-17CF-9843E66DA014}"/>
          </ac:spMkLst>
        </pc:spChg>
        <pc:spChg chg="mod topLvl">
          <ac:chgData name="Marco Casiraghi" userId="34c8cd23-4fb6-4298-956c-4a0fecec7678" providerId="ADAL" clId="{121DDFE8-C1B3-488F-AA1B-7A2D8DFD306D}" dt="2026-01-30T01:17:31.661" v="154" actId="165"/>
          <ac:spMkLst>
            <pc:docMk/>
            <pc:sldMk cId="1741378291" sldId="2147478864"/>
            <ac:spMk id="68" creationId="{FABC05B2-6AA6-FF7E-7C2D-6274C052145E}"/>
          </ac:spMkLst>
        </pc:spChg>
        <pc:spChg chg="mod">
          <ac:chgData name="Marco Casiraghi" userId="34c8cd23-4fb6-4298-956c-4a0fecec7678" providerId="ADAL" clId="{121DDFE8-C1B3-488F-AA1B-7A2D8DFD306D}" dt="2026-01-30T01:17:31.661" v="154" actId="165"/>
          <ac:spMkLst>
            <pc:docMk/>
            <pc:sldMk cId="1741378291" sldId="2147478864"/>
            <ac:spMk id="73" creationId="{53DC7C06-EDDC-7D6C-1C1D-88D36DE06FD7}"/>
          </ac:spMkLst>
        </pc:spChg>
        <pc:spChg chg="mod topLvl">
          <ac:chgData name="Marco Casiraghi" userId="34c8cd23-4fb6-4298-956c-4a0fecec7678" providerId="ADAL" clId="{121DDFE8-C1B3-488F-AA1B-7A2D8DFD306D}" dt="2026-01-30T01:17:31.661" v="154" actId="165"/>
          <ac:spMkLst>
            <pc:docMk/>
            <pc:sldMk cId="1741378291" sldId="2147478864"/>
            <ac:spMk id="89" creationId="{3AB5C0D7-3122-8D93-31F7-F6543D362C65}"/>
          </ac:spMkLst>
        </pc:spChg>
        <pc:spChg chg="mod topLvl">
          <ac:chgData name="Marco Casiraghi" userId="34c8cd23-4fb6-4298-956c-4a0fecec7678" providerId="ADAL" clId="{121DDFE8-C1B3-488F-AA1B-7A2D8DFD306D}" dt="2026-01-30T01:17:31.661" v="154" actId="165"/>
          <ac:spMkLst>
            <pc:docMk/>
            <pc:sldMk cId="1741378291" sldId="2147478864"/>
            <ac:spMk id="107" creationId="{E52FABB4-A320-0641-2D42-770861CDDDB6}"/>
          </ac:spMkLst>
        </pc:spChg>
        <pc:spChg chg="mod topLvl">
          <ac:chgData name="Marco Casiraghi" userId="34c8cd23-4fb6-4298-956c-4a0fecec7678" providerId="ADAL" clId="{121DDFE8-C1B3-488F-AA1B-7A2D8DFD306D}" dt="2026-01-30T01:17:31.661" v="154" actId="165"/>
          <ac:spMkLst>
            <pc:docMk/>
            <pc:sldMk cId="1741378291" sldId="2147478864"/>
            <ac:spMk id="199" creationId="{DC491C09-BCE2-79C0-08C1-2B8668AF57D4}"/>
          </ac:spMkLst>
        </pc:spChg>
        <pc:spChg chg="mod topLvl">
          <ac:chgData name="Marco Casiraghi" userId="34c8cd23-4fb6-4298-956c-4a0fecec7678" providerId="ADAL" clId="{121DDFE8-C1B3-488F-AA1B-7A2D8DFD306D}" dt="2026-01-30T01:17:31.661" v="154" actId="165"/>
          <ac:spMkLst>
            <pc:docMk/>
            <pc:sldMk cId="1741378291" sldId="2147478864"/>
            <ac:spMk id="229" creationId="{B42FCBAE-9B29-6182-0FD7-B12D0993909D}"/>
          </ac:spMkLst>
        </pc:spChg>
        <pc:spChg chg="mod topLvl">
          <ac:chgData name="Marco Casiraghi" userId="34c8cd23-4fb6-4298-956c-4a0fecec7678" providerId="ADAL" clId="{121DDFE8-C1B3-488F-AA1B-7A2D8DFD306D}" dt="2026-01-30T01:17:31.661" v="154" actId="165"/>
          <ac:spMkLst>
            <pc:docMk/>
            <pc:sldMk cId="1741378291" sldId="2147478864"/>
            <ac:spMk id="243" creationId="{6670EBEC-C370-86DE-9122-DEA4222F3424}"/>
          </ac:spMkLst>
        </pc:spChg>
        <pc:spChg chg="mod">
          <ac:chgData name="Marco Casiraghi" userId="34c8cd23-4fb6-4298-956c-4a0fecec7678" providerId="ADAL" clId="{121DDFE8-C1B3-488F-AA1B-7A2D8DFD306D}" dt="2026-01-30T01:17:31.661" v="154" actId="165"/>
          <ac:spMkLst>
            <pc:docMk/>
            <pc:sldMk cId="1741378291" sldId="2147478864"/>
            <ac:spMk id="293" creationId="{044CD7AA-52D2-3086-855D-2FAE61BC2C06}"/>
          </ac:spMkLst>
        </pc:spChg>
      </pc:sldChg>
      <pc:sldChg chg="addSp delSp modSp add del mod">
        <pc:chgData name="Marco Casiraghi" userId="34c8cd23-4fb6-4298-956c-4a0fecec7678" providerId="ADAL" clId="{121DDFE8-C1B3-488F-AA1B-7A2D8DFD306D}" dt="2026-01-30T01:20:15.746" v="278" actId="47"/>
        <pc:sldMkLst>
          <pc:docMk/>
          <pc:sldMk cId="3548648664" sldId="2147478867"/>
        </pc:sldMkLst>
        <pc:spChg chg="mod">
          <ac:chgData name="Marco Casiraghi" userId="34c8cd23-4fb6-4298-956c-4a0fecec7678" providerId="ADAL" clId="{121DDFE8-C1B3-488F-AA1B-7A2D8DFD306D}" dt="2026-01-30T01:19:54.348" v="249" actId="948"/>
          <ac:spMkLst>
            <pc:docMk/>
            <pc:sldMk cId="3548648664" sldId="2147478867"/>
            <ac:spMk id="2" creationId="{8609D7A5-30CF-5411-6575-DB064AE65F87}"/>
          </ac:spMkLst>
        </pc:spChg>
        <pc:spChg chg="mod">
          <ac:chgData name="Marco Casiraghi" userId="34c8cd23-4fb6-4298-956c-4a0fecec7678" providerId="ADAL" clId="{121DDFE8-C1B3-488F-AA1B-7A2D8DFD306D}" dt="2026-01-30T01:19:53.835" v="248"/>
          <ac:spMkLst>
            <pc:docMk/>
            <pc:sldMk cId="3548648664" sldId="2147478867"/>
            <ac:spMk id="3" creationId="{334FB7CA-E364-5E48-A2BE-E39E3974078A}"/>
          </ac:spMkLst>
        </pc:spChg>
        <pc:spChg chg="add del mod modVis">
          <ac:chgData name="Marco Casiraghi" userId="34c8cd23-4fb6-4298-956c-4a0fecec7678" providerId="ADAL" clId="{121DDFE8-C1B3-488F-AA1B-7A2D8DFD306D}" dt="2026-01-30T01:17:59.895" v="188"/>
          <ac:spMkLst>
            <pc:docMk/>
            <pc:sldMk cId="3548648664" sldId="2147478867"/>
            <ac:spMk id="6" creationId="{8635810F-0D57-AE2C-2D42-F7F198E7F3F1}"/>
          </ac:spMkLst>
        </pc:spChg>
        <pc:spChg chg="add del mod modVis">
          <ac:chgData name="Marco Casiraghi" userId="34c8cd23-4fb6-4298-956c-4a0fecec7678" providerId="ADAL" clId="{121DDFE8-C1B3-488F-AA1B-7A2D8DFD306D}" dt="2026-01-30T01:18:20.379" v="220"/>
          <ac:spMkLst>
            <pc:docMk/>
            <pc:sldMk cId="3548648664" sldId="2147478867"/>
            <ac:spMk id="7" creationId="{B3C2F034-1EAF-2861-ED81-E66A8B86D6E3}"/>
          </ac:spMkLst>
        </pc:spChg>
        <pc:spChg chg="add del mod modVis">
          <ac:chgData name="Marco Casiraghi" userId="34c8cd23-4fb6-4298-956c-4a0fecec7678" providerId="ADAL" clId="{121DDFE8-C1B3-488F-AA1B-7A2D8DFD306D}" dt="2026-01-30T01:19:54.380" v="271"/>
          <ac:spMkLst>
            <pc:docMk/>
            <pc:sldMk cId="3548648664" sldId="2147478867"/>
            <ac:spMk id="8" creationId="{9A9A6FF2-F7A6-F62F-93D8-543BC39BFB46}"/>
          </ac:spMkLst>
        </pc:spChg>
        <pc:graphicFrameChg chg="mod">
          <ac:chgData name="Marco Casiraghi" userId="34c8cd23-4fb6-4298-956c-4a0fecec7678" providerId="ADAL" clId="{121DDFE8-C1B3-488F-AA1B-7A2D8DFD306D}" dt="2026-01-30T01:19:54.382" v="273"/>
          <ac:graphicFrameMkLst>
            <pc:docMk/>
            <pc:sldMk cId="3548648664" sldId="2147478867"/>
            <ac:graphicFrameMk id="5" creationId="{25C76168-77BE-F1A0-B714-52AEC3107BEF}"/>
          </ac:graphicFrameMkLst>
        </pc:graphicFrameChg>
      </pc:sldChg>
      <pc:sldChg chg="del">
        <pc:chgData name="Marco Casiraghi" userId="34c8cd23-4fb6-4298-956c-4a0fecec7678" providerId="ADAL" clId="{121DDFE8-C1B3-488F-AA1B-7A2D8DFD306D}" dt="2026-01-30T01:14:56.360" v="47" actId="47"/>
        <pc:sldMkLst>
          <pc:docMk/>
          <pc:sldMk cId="3900239928" sldId="2147478868"/>
        </pc:sldMkLst>
      </pc:sldChg>
      <pc:sldChg chg="addSp delSp modSp new del mod">
        <pc:chgData name="Marco Casiraghi" userId="34c8cd23-4fb6-4298-956c-4a0fecec7678" providerId="ADAL" clId="{121DDFE8-C1B3-488F-AA1B-7A2D8DFD306D}" dt="2026-01-30T01:27:11.098" v="2108" actId="47"/>
        <pc:sldMkLst>
          <pc:docMk/>
          <pc:sldMk cId="3296205067" sldId="2147478869"/>
        </pc:sldMkLst>
        <pc:spChg chg="del mod">
          <ac:chgData name="Marco Casiraghi" userId="34c8cd23-4fb6-4298-956c-4a0fecec7678" providerId="ADAL" clId="{121DDFE8-C1B3-488F-AA1B-7A2D8DFD306D}" dt="2026-01-30T01:14:39.910" v="6" actId="478"/>
          <ac:spMkLst>
            <pc:docMk/>
            <pc:sldMk cId="3296205067" sldId="2147478869"/>
            <ac:spMk id="2" creationId="{51B4BFAC-2C2F-5055-8F17-CD639353619B}"/>
          </ac:spMkLst>
        </pc:spChg>
        <pc:spChg chg="del mod">
          <ac:chgData name="Marco Casiraghi" userId="34c8cd23-4fb6-4298-956c-4a0fecec7678" providerId="ADAL" clId="{121DDFE8-C1B3-488F-AA1B-7A2D8DFD306D}" dt="2026-01-30T01:14:41.181" v="7" actId="478"/>
          <ac:spMkLst>
            <pc:docMk/>
            <pc:sldMk cId="3296205067" sldId="2147478869"/>
            <ac:spMk id="3" creationId="{1B6BA106-845E-487A-ED36-4B8FDF485821}"/>
          </ac:spMkLst>
        </pc:spChg>
        <pc:spChg chg="mod">
          <ac:chgData name="Marco Casiraghi" userId="34c8cd23-4fb6-4298-956c-4a0fecec7678" providerId="ADAL" clId="{121DDFE8-C1B3-488F-AA1B-7A2D8DFD306D}" dt="2026-01-30T01:21:34.639" v="325" actId="948"/>
          <ac:spMkLst>
            <pc:docMk/>
            <pc:sldMk cId="3296205067" sldId="2147478869"/>
            <ac:spMk id="4" creationId="{EEC8C485-AD46-DF66-FFD7-9B101302AE58}"/>
          </ac:spMkLst>
        </pc:spChg>
        <pc:spChg chg="mod">
          <ac:chgData name="Marco Casiraghi" userId="34c8cd23-4fb6-4298-956c-4a0fecec7678" providerId="ADAL" clId="{121DDFE8-C1B3-488F-AA1B-7A2D8DFD306D}" dt="2026-01-30T01:14:38.324" v="5"/>
          <ac:spMkLst>
            <pc:docMk/>
            <pc:sldMk cId="3296205067" sldId="2147478869"/>
            <ac:spMk id="5" creationId="{494A9ABF-4EFD-E1BF-6CDB-AE190C9B856C}"/>
          </ac:spMkLst>
        </pc:spChg>
        <pc:spChg chg="mod">
          <ac:chgData name="Marco Casiraghi" userId="34c8cd23-4fb6-4298-956c-4a0fecec7678" providerId="ADAL" clId="{121DDFE8-C1B3-488F-AA1B-7A2D8DFD306D}" dt="2026-01-30T01:14:36.683" v="4"/>
          <ac:spMkLst>
            <pc:docMk/>
            <pc:sldMk cId="3296205067" sldId="2147478869"/>
            <ac:spMk id="23" creationId="{330BB652-440E-DE73-B5CE-A1EBB1528F93}"/>
          </ac:spMkLst>
        </pc:spChg>
        <pc:spChg chg="mod">
          <ac:chgData name="Marco Casiraghi" userId="34c8cd23-4fb6-4298-956c-4a0fecec7678" providerId="ADAL" clId="{121DDFE8-C1B3-488F-AA1B-7A2D8DFD306D}" dt="2026-01-30T01:14:36.683" v="4"/>
          <ac:spMkLst>
            <pc:docMk/>
            <pc:sldMk cId="3296205067" sldId="2147478869"/>
            <ac:spMk id="40" creationId="{D16A5F2C-265F-8111-C669-EF528AB1CC0C}"/>
          </ac:spMkLst>
        </pc:spChg>
        <pc:spChg chg="mod">
          <ac:chgData name="Marco Casiraghi" userId="34c8cd23-4fb6-4298-956c-4a0fecec7678" providerId="ADAL" clId="{121DDFE8-C1B3-488F-AA1B-7A2D8DFD306D}" dt="2026-01-30T01:14:36.683" v="4"/>
          <ac:spMkLst>
            <pc:docMk/>
            <pc:sldMk cId="3296205067" sldId="2147478869"/>
            <ac:spMk id="47" creationId="{1490C7FF-C621-0CA3-B368-B478581EEF08}"/>
          </ac:spMkLst>
        </pc:spChg>
        <pc:spChg chg="mod">
          <ac:chgData name="Marco Casiraghi" userId="34c8cd23-4fb6-4298-956c-4a0fecec7678" providerId="ADAL" clId="{121DDFE8-C1B3-488F-AA1B-7A2D8DFD306D}" dt="2026-01-30T01:14:36.683" v="4"/>
          <ac:spMkLst>
            <pc:docMk/>
            <pc:sldMk cId="3296205067" sldId="2147478869"/>
            <ac:spMk id="67" creationId="{B4A99DCC-78B7-45B7-2E4B-9E5EE5C33808}"/>
          </ac:spMkLst>
        </pc:spChg>
        <pc:spChg chg="mod">
          <ac:chgData name="Marco Casiraghi" userId="34c8cd23-4fb6-4298-956c-4a0fecec7678" providerId="ADAL" clId="{121DDFE8-C1B3-488F-AA1B-7A2D8DFD306D}" dt="2026-01-30T01:14:36.683" v="4"/>
          <ac:spMkLst>
            <pc:docMk/>
            <pc:sldMk cId="3296205067" sldId="2147478869"/>
            <ac:spMk id="69" creationId="{D80CC977-1698-5872-BA5F-FEBC1DF84282}"/>
          </ac:spMkLst>
        </pc:spChg>
        <pc:spChg chg="mod">
          <ac:chgData name="Marco Casiraghi" userId="34c8cd23-4fb6-4298-956c-4a0fecec7678" providerId="ADAL" clId="{121DDFE8-C1B3-488F-AA1B-7A2D8DFD306D}" dt="2026-01-30T01:14:36.683" v="4"/>
          <ac:spMkLst>
            <pc:docMk/>
            <pc:sldMk cId="3296205067" sldId="2147478869"/>
            <ac:spMk id="76" creationId="{566176A7-01AD-3CF1-D92A-5B9D96C09318}"/>
          </ac:spMkLst>
        </pc:spChg>
        <pc:spChg chg="mod">
          <ac:chgData name="Marco Casiraghi" userId="34c8cd23-4fb6-4298-956c-4a0fecec7678" providerId="ADAL" clId="{121DDFE8-C1B3-488F-AA1B-7A2D8DFD306D}" dt="2026-01-30T01:14:36.683" v="4"/>
          <ac:spMkLst>
            <pc:docMk/>
            <pc:sldMk cId="3296205067" sldId="2147478869"/>
            <ac:spMk id="78" creationId="{CD742ED7-557D-B9C4-7DA9-5503CAC7A132}"/>
          </ac:spMkLst>
        </pc:spChg>
        <pc:spChg chg="mod">
          <ac:chgData name="Marco Casiraghi" userId="34c8cd23-4fb6-4298-956c-4a0fecec7678" providerId="ADAL" clId="{121DDFE8-C1B3-488F-AA1B-7A2D8DFD306D}" dt="2026-01-30T01:14:36.683" v="4"/>
          <ac:spMkLst>
            <pc:docMk/>
            <pc:sldMk cId="3296205067" sldId="2147478869"/>
            <ac:spMk id="79" creationId="{D606A732-B0C1-8A9B-351D-590DB46EFD71}"/>
          </ac:spMkLst>
        </pc:spChg>
        <pc:spChg chg="mod">
          <ac:chgData name="Marco Casiraghi" userId="34c8cd23-4fb6-4298-956c-4a0fecec7678" providerId="ADAL" clId="{121DDFE8-C1B3-488F-AA1B-7A2D8DFD306D}" dt="2026-01-30T01:14:36.683" v="4"/>
          <ac:spMkLst>
            <pc:docMk/>
            <pc:sldMk cId="3296205067" sldId="2147478869"/>
            <ac:spMk id="84" creationId="{676262D0-FD79-3C5D-3AEA-78F75EEA02B9}"/>
          </ac:spMkLst>
        </pc:spChg>
        <pc:spChg chg="mod">
          <ac:chgData name="Marco Casiraghi" userId="34c8cd23-4fb6-4298-956c-4a0fecec7678" providerId="ADAL" clId="{121DDFE8-C1B3-488F-AA1B-7A2D8DFD306D}" dt="2026-01-30T01:14:36.683" v="4"/>
          <ac:spMkLst>
            <pc:docMk/>
            <pc:sldMk cId="3296205067" sldId="2147478869"/>
            <ac:spMk id="88" creationId="{6E0E6EAB-67B9-D761-0EE8-7FA58B3C4663}"/>
          </ac:spMkLst>
        </pc:spChg>
        <pc:spChg chg="add mod">
          <ac:chgData name="Marco Casiraghi" userId="34c8cd23-4fb6-4298-956c-4a0fecec7678" providerId="ADAL" clId="{121DDFE8-C1B3-488F-AA1B-7A2D8DFD306D}" dt="2026-01-30T01:14:41.653" v="8"/>
          <ac:spMkLst>
            <pc:docMk/>
            <pc:sldMk cId="3296205067" sldId="2147478869"/>
            <ac:spMk id="108" creationId="{BD86C9FE-AFF9-96F1-4540-B050D61596D4}"/>
          </ac:spMkLst>
        </pc:spChg>
        <pc:spChg chg="del">
          <ac:chgData name="Marco Casiraghi" userId="34c8cd23-4fb6-4298-956c-4a0fecec7678" providerId="ADAL" clId="{121DDFE8-C1B3-488F-AA1B-7A2D8DFD306D}" dt="2026-01-30T01:20:06.943" v="277" actId="478"/>
          <ac:spMkLst>
            <pc:docMk/>
            <pc:sldMk cId="3296205067" sldId="2147478869"/>
            <ac:spMk id="109" creationId="{80E7A5CA-A303-3A57-6381-7489E2EE4F35}"/>
          </ac:spMkLst>
        </pc:spChg>
        <pc:spChg chg="mod">
          <ac:chgData name="Marco Casiraghi" userId="34c8cd23-4fb6-4298-956c-4a0fecec7678" providerId="ADAL" clId="{121DDFE8-C1B3-488F-AA1B-7A2D8DFD306D}" dt="2026-01-30T01:14:41.653" v="8"/>
          <ac:spMkLst>
            <pc:docMk/>
            <pc:sldMk cId="3296205067" sldId="2147478869"/>
            <ac:spMk id="134" creationId="{CFABA9D8-F916-E79D-E9A1-E8E873755DF3}"/>
          </ac:spMkLst>
        </pc:spChg>
        <pc:spChg chg="mod">
          <ac:chgData name="Marco Casiraghi" userId="34c8cd23-4fb6-4298-956c-4a0fecec7678" providerId="ADAL" clId="{121DDFE8-C1B3-488F-AA1B-7A2D8DFD306D}" dt="2026-01-30T01:14:41.653" v="8"/>
          <ac:spMkLst>
            <pc:docMk/>
            <pc:sldMk cId="3296205067" sldId="2147478869"/>
            <ac:spMk id="138" creationId="{2E6159E4-DE9B-5170-75ED-3E6AA9C1445A}"/>
          </ac:spMkLst>
        </pc:spChg>
        <pc:spChg chg="mod">
          <ac:chgData name="Marco Casiraghi" userId="34c8cd23-4fb6-4298-956c-4a0fecec7678" providerId="ADAL" clId="{121DDFE8-C1B3-488F-AA1B-7A2D8DFD306D}" dt="2026-01-30T01:14:41.653" v="8"/>
          <ac:spMkLst>
            <pc:docMk/>
            <pc:sldMk cId="3296205067" sldId="2147478869"/>
            <ac:spMk id="151" creationId="{3D8B7F02-AE88-238A-E0BC-DCABF8CD88C2}"/>
          </ac:spMkLst>
        </pc:spChg>
        <pc:spChg chg="mod">
          <ac:chgData name="Marco Casiraghi" userId="34c8cd23-4fb6-4298-956c-4a0fecec7678" providerId="ADAL" clId="{121DDFE8-C1B3-488F-AA1B-7A2D8DFD306D}" dt="2026-01-30T01:14:41.653" v="8"/>
          <ac:spMkLst>
            <pc:docMk/>
            <pc:sldMk cId="3296205067" sldId="2147478869"/>
            <ac:spMk id="169" creationId="{D76CF919-F2ED-40C5-283C-20B2B287F636}"/>
          </ac:spMkLst>
        </pc:spChg>
        <pc:spChg chg="mod">
          <ac:chgData name="Marco Casiraghi" userId="34c8cd23-4fb6-4298-956c-4a0fecec7678" providerId="ADAL" clId="{121DDFE8-C1B3-488F-AA1B-7A2D8DFD306D}" dt="2026-01-30T01:14:41.653" v="8"/>
          <ac:spMkLst>
            <pc:docMk/>
            <pc:sldMk cId="3296205067" sldId="2147478869"/>
            <ac:spMk id="180" creationId="{3C5BF6F8-9C2C-A14D-F696-E32E90CFD068}"/>
          </ac:spMkLst>
        </pc:spChg>
        <pc:spChg chg="mod">
          <ac:chgData name="Marco Casiraghi" userId="34c8cd23-4fb6-4298-956c-4a0fecec7678" providerId="ADAL" clId="{121DDFE8-C1B3-488F-AA1B-7A2D8DFD306D}" dt="2026-01-30T01:14:41.653" v="8"/>
          <ac:spMkLst>
            <pc:docMk/>
            <pc:sldMk cId="3296205067" sldId="2147478869"/>
            <ac:spMk id="181" creationId="{FA18401C-CCCA-CC14-D5E0-BC3246091373}"/>
          </ac:spMkLst>
        </pc:spChg>
        <pc:spChg chg="mod">
          <ac:chgData name="Marco Casiraghi" userId="34c8cd23-4fb6-4298-956c-4a0fecec7678" providerId="ADAL" clId="{121DDFE8-C1B3-488F-AA1B-7A2D8DFD306D}" dt="2026-01-30T01:18:56.953" v="231" actId="20577"/>
          <ac:spMkLst>
            <pc:docMk/>
            <pc:sldMk cId="3296205067" sldId="2147478869"/>
            <ac:spMk id="188" creationId="{F116E11A-00D4-8BBA-E78C-594B75D85776}"/>
          </ac:spMkLst>
        </pc:spChg>
        <pc:spChg chg="mod">
          <ac:chgData name="Marco Casiraghi" userId="34c8cd23-4fb6-4298-956c-4a0fecec7678" providerId="ADAL" clId="{121DDFE8-C1B3-488F-AA1B-7A2D8DFD306D}" dt="2026-01-30T01:14:41.653" v="8"/>
          <ac:spMkLst>
            <pc:docMk/>
            <pc:sldMk cId="3296205067" sldId="2147478869"/>
            <ac:spMk id="190" creationId="{77D61E9A-2715-28CE-ED1B-8306DBB0C82B}"/>
          </ac:spMkLst>
        </pc:spChg>
        <pc:spChg chg="mod">
          <ac:chgData name="Marco Casiraghi" userId="34c8cd23-4fb6-4298-956c-4a0fecec7678" providerId="ADAL" clId="{121DDFE8-C1B3-488F-AA1B-7A2D8DFD306D}" dt="2026-01-30T01:18:59.423" v="232"/>
          <ac:spMkLst>
            <pc:docMk/>
            <pc:sldMk cId="3296205067" sldId="2147478869"/>
            <ac:spMk id="191" creationId="{B91F8158-A74A-BB23-237E-5CFEC0FA544C}"/>
          </ac:spMkLst>
        </pc:spChg>
        <pc:spChg chg="mod">
          <ac:chgData name="Marco Casiraghi" userId="34c8cd23-4fb6-4298-956c-4a0fecec7678" providerId="ADAL" clId="{121DDFE8-C1B3-488F-AA1B-7A2D8DFD306D}" dt="2026-01-30T01:14:41.653" v="8"/>
          <ac:spMkLst>
            <pc:docMk/>
            <pc:sldMk cId="3296205067" sldId="2147478869"/>
            <ac:spMk id="203" creationId="{027A27A6-3919-18B5-7AAE-558522871C34}"/>
          </ac:spMkLst>
        </pc:spChg>
        <pc:spChg chg="mod">
          <ac:chgData name="Marco Casiraghi" userId="34c8cd23-4fb6-4298-956c-4a0fecec7678" providerId="ADAL" clId="{121DDFE8-C1B3-488F-AA1B-7A2D8DFD306D}" dt="2026-01-30T01:14:41.653" v="8"/>
          <ac:spMkLst>
            <pc:docMk/>
            <pc:sldMk cId="3296205067" sldId="2147478869"/>
            <ac:spMk id="204" creationId="{281C6004-75AB-ED2B-DD8C-0E6D8CCE9035}"/>
          </ac:spMkLst>
        </pc:spChg>
        <pc:spChg chg="mod">
          <ac:chgData name="Marco Casiraghi" userId="34c8cd23-4fb6-4298-956c-4a0fecec7678" providerId="ADAL" clId="{121DDFE8-C1B3-488F-AA1B-7A2D8DFD306D}" dt="2026-01-30T01:18:50.962" v="230" actId="20577"/>
          <ac:spMkLst>
            <pc:docMk/>
            <pc:sldMk cId="3296205067" sldId="2147478869"/>
            <ac:spMk id="209" creationId="{F136C969-F10A-56FD-1A4F-CFA1ED62AA4B}"/>
          </ac:spMkLst>
        </pc:spChg>
        <pc:spChg chg="add del mod modVis">
          <ac:chgData name="Marco Casiraghi" userId="34c8cd23-4fb6-4298-956c-4a0fecec7678" providerId="ADAL" clId="{121DDFE8-C1B3-488F-AA1B-7A2D8DFD306D}" dt="2026-01-30T01:14:47.707" v="32"/>
          <ac:spMkLst>
            <pc:docMk/>
            <pc:sldMk cId="3296205067" sldId="2147478869"/>
            <ac:spMk id="211" creationId="{A7F62EA1-E4FF-864C-A253-350592B6C780}"/>
          </ac:spMkLst>
        </pc:spChg>
        <pc:spChg chg="add del mod">
          <ac:chgData name="Marco Casiraghi" userId="34c8cd23-4fb6-4298-956c-4a0fecec7678" providerId="ADAL" clId="{121DDFE8-C1B3-488F-AA1B-7A2D8DFD306D}" dt="2026-01-30T01:21:35.628" v="350" actId="478"/>
          <ac:spMkLst>
            <pc:docMk/>
            <pc:sldMk cId="3296205067" sldId="2147478869"/>
            <ac:spMk id="213" creationId="{6F328289-A42F-2637-1DA1-95E9059943E4}"/>
          </ac:spMkLst>
        </pc:spChg>
        <pc:spChg chg="add del mod modVis">
          <ac:chgData name="Marco Casiraghi" userId="34c8cd23-4fb6-4298-956c-4a0fecec7678" providerId="ADAL" clId="{121DDFE8-C1B3-488F-AA1B-7A2D8DFD306D}" dt="2026-01-30T01:21:31.392" v="320"/>
          <ac:spMkLst>
            <pc:docMk/>
            <pc:sldMk cId="3296205067" sldId="2147478869"/>
            <ac:spMk id="214" creationId="{CD63BCE3-3862-9442-0C45-2C8AE7BC0098}"/>
          </ac:spMkLst>
        </pc:spChg>
        <pc:spChg chg="add del mod modVis">
          <ac:chgData name="Marco Casiraghi" userId="34c8cd23-4fb6-4298-956c-4a0fecec7678" providerId="ADAL" clId="{121DDFE8-C1B3-488F-AA1B-7A2D8DFD306D}" dt="2026-01-30T01:21:34.670" v="347"/>
          <ac:spMkLst>
            <pc:docMk/>
            <pc:sldMk cId="3296205067" sldId="2147478869"/>
            <ac:spMk id="215" creationId="{54AAF83C-C817-F82B-67AB-58C1CA805CE8}"/>
          </ac:spMkLst>
        </pc:spChg>
        <pc:graphicFrameChg chg="add mod ord modVis">
          <ac:chgData name="Marco Casiraghi" userId="34c8cd23-4fb6-4298-956c-4a0fecec7678" providerId="ADAL" clId="{121DDFE8-C1B3-488F-AA1B-7A2D8DFD306D}" dt="2026-01-30T01:21:34.672" v="349"/>
          <ac:graphicFrameMkLst>
            <pc:docMk/>
            <pc:sldMk cId="3296205067" sldId="2147478869"/>
            <ac:graphicFrameMk id="212" creationId="{5B752AB2-9664-0871-97D8-6F373D46767C}"/>
          </ac:graphicFrameMkLst>
        </pc:graphicFrameChg>
      </pc:sldChg>
      <pc:sldChg chg="addSp delSp modSp add mod">
        <pc:chgData name="Marco Casiraghi" userId="34c8cd23-4fb6-4298-956c-4a0fecec7678" providerId="ADAL" clId="{121DDFE8-C1B3-488F-AA1B-7A2D8DFD306D}" dt="2026-01-30T01:21:42.188" v="384"/>
        <pc:sldMkLst>
          <pc:docMk/>
          <pc:sldMk cId="1077344917" sldId="2147478870"/>
        </pc:sldMkLst>
        <pc:spChg chg="add del mod modVis">
          <ac:chgData name="Marco Casiraghi" userId="34c8cd23-4fb6-4298-956c-4a0fecec7678" providerId="ADAL" clId="{121DDFE8-C1B3-488F-AA1B-7A2D8DFD306D}" dt="2026-01-30T01:15:04.610" v="75"/>
          <ac:spMkLst>
            <pc:docMk/>
            <pc:sldMk cId="1077344917" sldId="2147478870"/>
            <ac:spMk id="2" creationId="{15E952FB-00BC-9844-AAD9-8D89A644A3B5}"/>
          </ac:spMkLst>
        </pc:spChg>
        <pc:spChg chg="del mod">
          <ac:chgData name="Marco Casiraghi" userId="34c8cd23-4fb6-4298-956c-4a0fecec7678" providerId="ADAL" clId="{121DDFE8-C1B3-488F-AA1B-7A2D8DFD306D}" dt="2026-01-30T01:21:38.473" v="351" actId="478"/>
          <ac:spMkLst>
            <pc:docMk/>
            <pc:sldMk cId="1077344917" sldId="2147478870"/>
            <ac:spMk id="4" creationId="{AE6EB9C6-623E-21C8-857B-9CE8FDDC6B81}"/>
          </ac:spMkLst>
        </pc:spChg>
        <pc:spChg chg="add mod">
          <ac:chgData name="Marco Casiraghi" userId="34c8cd23-4fb6-4298-956c-4a0fecec7678" providerId="ADAL" clId="{121DDFE8-C1B3-488F-AA1B-7A2D8DFD306D}" dt="2026-01-30T01:15:57.197" v="85"/>
          <ac:spMkLst>
            <pc:docMk/>
            <pc:sldMk cId="1077344917" sldId="2147478870"/>
            <ac:spMk id="6" creationId="{A05AD78A-147C-B6E8-DA04-10929BF00B97}"/>
          </ac:spMkLst>
        </pc:spChg>
        <pc:spChg chg="add mod">
          <ac:chgData name="Marco Casiraghi" userId="34c8cd23-4fb6-4298-956c-4a0fecec7678" providerId="ADAL" clId="{121DDFE8-C1B3-488F-AA1B-7A2D8DFD306D}" dt="2026-01-30T01:15:57.197" v="85"/>
          <ac:spMkLst>
            <pc:docMk/>
            <pc:sldMk cId="1077344917" sldId="2147478870"/>
            <ac:spMk id="26" creationId="{3531BFCE-C60D-AE44-1462-02B3ED4E1329}"/>
          </ac:spMkLst>
        </pc:spChg>
        <pc:spChg chg="add mod">
          <ac:chgData name="Marco Casiraghi" userId="34c8cd23-4fb6-4298-956c-4a0fecec7678" providerId="ADAL" clId="{121DDFE8-C1B3-488F-AA1B-7A2D8DFD306D}" dt="2026-01-30T01:15:57.197" v="85"/>
          <ac:spMkLst>
            <pc:docMk/>
            <pc:sldMk cId="1077344917" sldId="2147478870"/>
            <ac:spMk id="37" creationId="{F909416A-6BBE-1E70-A265-F6B5C4C0D9F6}"/>
          </ac:spMkLst>
        </pc:spChg>
        <pc:spChg chg="add mod">
          <ac:chgData name="Marco Casiraghi" userId="34c8cd23-4fb6-4298-956c-4a0fecec7678" providerId="ADAL" clId="{121DDFE8-C1B3-488F-AA1B-7A2D8DFD306D}" dt="2026-01-30T01:15:57.197" v="85"/>
          <ac:spMkLst>
            <pc:docMk/>
            <pc:sldMk cId="1077344917" sldId="2147478870"/>
            <ac:spMk id="41" creationId="{A167A8C2-24F8-B3BD-270D-A5B6D9F99E9B}"/>
          </ac:spMkLst>
        </pc:spChg>
        <pc:spChg chg="add mod">
          <ac:chgData name="Marco Casiraghi" userId="34c8cd23-4fb6-4298-956c-4a0fecec7678" providerId="ADAL" clId="{121DDFE8-C1B3-488F-AA1B-7A2D8DFD306D}" dt="2026-01-30T01:15:57.197" v="85"/>
          <ac:spMkLst>
            <pc:docMk/>
            <pc:sldMk cId="1077344917" sldId="2147478870"/>
            <ac:spMk id="42" creationId="{C9C977F5-2895-0BA3-44F5-B5E703DD18EF}"/>
          </ac:spMkLst>
        </pc:spChg>
        <pc:spChg chg="add mod">
          <ac:chgData name="Marco Casiraghi" userId="34c8cd23-4fb6-4298-956c-4a0fecec7678" providerId="ADAL" clId="{121DDFE8-C1B3-488F-AA1B-7A2D8DFD306D}" dt="2026-01-30T01:15:57.197" v="85"/>
          <ac:spMkLst>
            <pc:docMk/>
            <pc:sldMk cId="1077344917" sldId="2147478870"/>
            <ac:spMk id="48" creationId="{24609D89-530D-FF64-D023-4062B238B1F2}"/>
          </ac:spMkLst>
        </pc:spChg>
        <pc:spChg chg="add mod">
          <ac:chgData name="Marco Casiraghi" userId="34c8cd23-4fb6-4298-956c-4a0fecec7678" providerId="ADAL" clId="{121DDFE8-C1B3-488F-AA1B-7A2D8DFD306D}" dt="2026-01-30T01:15:57.197" v="85"/>
          <ac:spMkLst>
            <pc:docMk/>
            <pc:sldMk cId="1077344917" sldId="2147478870"/>
            <ac:spMk id="58" creationId="{1D93D6D1-C20F-D698-0F83-6C914AB02A5E}"/>
          </ac:spMkLst>
        </pc:spChg>
        <pc:spChg chg="add mod">
          <ac:chgData name="Marco Casiraghi" userId="34c8cd23-4fb6-4298-956c-4a0fecec7678" providerId="ADAL" clId="{121DDFE8-C1B3-488F-AA1B-7A2D8DFD306D}" dt="2026-01-30T01:15:57.197" v="85"/>
          <ac:spMkLst>
            <pc:docMk/>
            <pc:sldMk cId="1077344917" sldId="2147478870"/>
            <ac:spMk id="60" creationId="{83A20B95-44F9-08D2-E7E4-A0E1620E72D2}"/>
          </ac:spMkLst>
        </pc:spChg>
        <pc:spChg chg="add mod">
          <ac:chgData name="Marco Casiraghi" userId="34c8cd23-4fb6-4298-956c-4a0fecec7678" providerId="ADAL" clId="{121DDFE8-C1B3-488F-AA1B-7A2D8DFD306D}" dt="2026-01-30T01:15:57.197" v="85"/>
          <ac:spMkLst>
            <pc:docMk/>
            <pc:sldMk cId="1077344917" sldId="2147478870"/>
            <ac:spMk id="67" creationId="{05DF6E5A-7B9E-05BE-2D38-CFC44CA87F68}"/>
          </ac:spMkLst>
        </pc:spChg>
        <pc:spChg chg="add mod">
          <ac:chgData name="Marco Casiraghi" userId="34c8cd23-4fb6-4298-956c-4a0fecec7678" providerId="ADAL" clId="{121DDFE8-C1B3-488F-AA1B-7A2D8DFD306D}" dt="2026-01-30T01:15:57.197" v="85"/>
          <ac:spMkLst>
            <pc:docMk/>
            <pc:sldMk cId="1077344917" sldId="2147478870"/>
            <ac:spMk id="68" creationId="{97905747-D96C-EA95-EE20-650F35F5BCC5}"/>
          </ac:spMkLst>
        </pc:spChg>
        <pc:spChg chg="del">
          <ac:chgData name="Marco Casiraghi" userId="34c8cd23-4fb6-4298-956c-4a0fecec7678" providerId="ADAL" clId="{121DDFE8-C1B3-488F-AA1B-7A2D8DFD306D}" dt="2026-01-30T01:20:04.936" v="276" actId="478"/>
          <ac:spMkLst>
            <pc:docMk/>
            <pc:sldMk cId="1077344917" sldId="2147478870"/>
            <ac:spMk id="76" creationId="{68FA036D-4379-F3B9-FEA7-A1C5597AA212}"/>
          </ac:spMkLst>
        </pc:spChg>
        <pc:spChg chg="add mod">
          <ac:chgData name="Marco Casiraghi" userId="34c8cd23-4fb6-4298-956c-4a0fecec7678" providerId="ADAL" clId="{121DDFE8-C1B3-488F-AA1B-7A2D8DFD306D}" dt="2026-01-30T01:16:08.137" v="86"/>
          <ac:spMkLst>
            <pc:docMk/>
            <pc:sldMk cId="1077344917" sldId="2147478870"/>
            <ac:spMk id="87" creationId="{453E69FE-7442-E6BB-C02C-D6118A472224}"/>
          </ac:spMkLst>
        </pc:spChg>
        <pc:spChg chg="add mod">
          <ac:chgData name="Marco Casiraghi" userId="34c8cd23-4fb6-4298-956c-4a0fecec7678" providerId="ADAL" clId="{121DDFE8-C1B3-488F-AA1B-7A2D8DFD306D}" dt="2026-01-30T01:16:08.137" v="86"/>
          <ac:spMkLst>
            <pc:docMk/>
            <pc:sldMk cId="1077344917" sldId="2147478870"/>
            <ac:spMk id="89" creationId="{0394328F-83F4-2692-B525-EBDBEDAB942B}"/>
          </ac:spMkLst>
        </pc:spChg>
        <pc:spChg chg="add mod">
          <ac:chgData name="Marco Casiraghi" userId="34c8cd23-4fb6-4298-956c-4a0fecec7678" providerId="ADAL" clId="{121DDFE8-C1B3-488F-AA1B-7A2D8DFD306D}" dt="2026-01-30T01:16:08.137" v="86"/>
          <ac:spMkLst>
            <pc:docMk/>
            <pc:sldMk cId="1077344917" sldId="2147478870"/>
            <ac:spMk id="99" creationId="{ECC4E03E-8E38-CF70-2B25-547B08BB6C16}"/>
          </ac:spMkLst>
        </pc:spChg>
        <pc:spChg chg="del">
          <ac:chgData name="Marco Casiraghi" userId="34c8cd23-4fb6-4298-956c-4a0fecec7678" providerId="ADAL" clId="{121DDFE8-C1B3-488F-AA1B-7A2D8DFD306D}" dt="2026-01-30T01:15:24.089" v="79" actId="478"/>
          <ac:spMkLst>
            <pc:docMk/>
            <pc:sldMk cId="1077344917" sldId="2147478870"/>
            <ac:spMk id="108" creationId="{D4452DD8-10A2-D20C-2A36-0FBBC1CA3DA7}"/>
          </ac:spMkLst>
        </pc:spChg>
        <pc:spChg chg="del">
          <ac:chgData name="Marco Casiraghi" userId="34c8cd23-4fb6-4298-956c-4a0fecec7678" providerId="ADAL" clId="{121DDFE8-C1B3-488F-AA1B-7A2D8DFD306D}" dt="2026-01-30T01:15:24.089" v="79" actId="478"/>
          <ac:spMkLst>
            <pc:docMk/>
            <pc:sldMk cId="1077344917" sldId="2147478870"/>
            <ac:spMk id="109" creationId="{450BD612-5331-FE49-500D-A55925012EBB}"/>
          </ac:spMkLst>
        </pc:spChg>
        <pc:spChg chg="mod topLvl">
          <ac:chgData name="Marco Casiraghi" userId="34c8cd23-4fb6-4298-956c-4a0fecec7678" providerId="ADAL" clId="{121DDFE8-C1B3-488F-AA1B-7A2D8DFD306D}" dt="2026-01-30T01:15:25.851" v="80" actId="165"/>
          <ac:spMkLst>
            <pc:docMk/>
            <pc:sldMk cId="1077344917" sldId="2147478870"/>
            <ac:spMk id="126" creationId="{F3370E8D-1E95-4A6D-A8C7-8474DEC5D948}"/>
          </ac:spMkLst>
        </pc:spChg>
        <pc:spChg chg="del">
          <ac:chgData name="Marco Casiraghi" userId="34c8cd23-4fb6-4298-956c-4a0fecec7678" providerId="ADAL" clId="{121DDFE8-C1B3-488F-AA1B-7A2D8DFD306D}" dt="2026-01-30T01:15:33.600" v="82" actId="478"/>
          <ac:spMkLst>
            <pc:docMk/>
            <pc:sldMk cId="1077344917" sldId="2147478870"/>
            <ac:spMk id="130" creationId="{CB95548D-FF26-0AAD-0644-8B52FDF36E6F}"/>
          </ac:spMkLst>
        </pc:spChg>
        <pc:spChg chg="del">
          <ac:chgData name="Marco Casiraghi" userId="34c8cd23-4fb6-4298-956c-4a0fecec7678" providerId="ADAL" clId="{121DDFE8-C1B3-488F-AA1B-7A2D8DFD306D}" dt="2026-01-30T01:15:33.600" v="82" actId="478"/>
          <ac:spMkLst>
            <pc:docMk/>
            <pc:sldMk cId="1077344917" sldId="2147478870"/>
            <ac:spMk id="131" creationId="{B0C5FB49-BB60-18BA-3AA1-1AC8127F02F6}"/>
          </ac:spMkLst>
        </pc:spChg>
        <pc:spChg chg="del">
          <ac:chgData name="Marco Casiraghi" userId="34c8cd23-4fb6-4298-956c-4a0fecec7678" providerId="ADAL" clId="{121DDFE8-C1B3-488F-AA1B-7A2D8DFD306D}" dt="2026-01-30T01:15:30.303" v="81" actId="478"/>
          <ac:spMkLst>
            <pc:docMk/>
            <pc:sldMk cId="1077344917" sldId="2147478870"/>
            <ac:spMk id="135" creationId="{5762A46D-C396-D5DF-42A3-3679082C20F6}"/>
          </ac:spMkLst>
        </pc:spChg>
        <pc:spChg chg="del mod topLvl">
          <ac:chgData name="Marco Casiraghi" userId="34c8cd23-4fb6-4298-956c-4a0fecec7678" providerId="ADAL" clId="{121DDFE8-C1B3-488F-AA1B-7A2D8DFD306D}" dt="2026-01-30T01:15:30.303" v="81" actId="478"/>
          <ac:spMkLst>
            <pc:docMk/>
            <pc:sldMk cId="1077344917" sldId="2147478870"/>
            <ac:spMk id="136" creationId="{33D97F42-901D-BEA4-1D21-9B5E224E6C42}"/>
          </ac:spMkLst>
        </pc:spChg>
        <pc:spChg chg="mod topLvl">
          <ac:chgData name="Marco Casiraghi" userId="34c8cd23-4fb6-4298-956c-4a0fecec7678" providerId="ADAL" clId="{121DDFE8-C1B3-488F-AA1B-7A2D8DFD306D}" dt="2026-01-30T01:15:25.851" v="80" actId="165"/>
          <ac:spMkLst>
            <pc:docMk/>
            <pc:sldMk cId="1077344917" sldId="2147478870"/>
            <ac:spMk id="159" creationId="{302A503B-64C3-7F44-F618-A87C3AED6A6D}"/>
          </ac:spMkLst>
        </pc:spChg>
        <pc:spChg chg="del">
          <ac:chgData name="Marco Casiraghi" userId="34c8cd23-4fb6-4298-956c-4a0fecec7678" providerId="ADAL" clId="{121DDFE8-C1B3-488F-AA1B-7A2D8DFD306D}" dt="2026-01-30T01:15:33.600" v="82" actId="478"/>
          <ac:spMkLst>
            <pc:docMk/>
            <pc:sldMk cId="1077344917" sldId="2147478870"/>
            <ac:spMk id="161" creationId="{D9EB8B56-7634-2DBD-8CF9-A1E2DFFA69E7}"/>
          </ac:spMkLst>
        </pc:spChg>
        <pc:spChg chg="del">
          <ac:chgData name="Marco Casiraghi" userId="34c8cd23-4fb6-4298-956c-4a0fecec7678" providerId="ADAL" clId="{121DDFE8-C1B3-488F-AA1B-7A2D8DFD306D}" dt="2026-01-30T01:15:33.600" v="82" actId="478"/>
          <ac:spMkLst>
            <pc:docMk/>
            <pc:sldMk cId="1077344917" sldId="2147478870"/>
            <ac:spMk id="178" creationId="{BE59EEAC-C0E9-2297-BA3A-97CD464A2444}"/>
          </ac:spMkLst>
        </pc:spChg>
        <pc:spChg chg="del">
          <ac:chgData name="Marco Casiraghi" userId="34c8cd23-4fb6-4298-956c-4a0fecec7678" providerId="ADAL" clId="{121DDFE8-C1B3-488F-AA1B-7A2D8DFD306D}" dt="2026-01-30T01:15:30.303" v="81" actId="478"/>
          <ac:spMkLst>
            <pc:docMk/>
            <pc:sldMk cId="1077344917" sldId="2147478870"/>
            <ac:spMk id="188" creationId="{4DE48D65-D704-009E-BE40-073F49DE46BE}"/>
          </ac:spMkLst>
        </pc:spChg>
        <pc:spChg chg="del mod topLvl">
          <ac:chgData name="Marco Casiraghi" userId="34c8cd23-4fb6-4298-956c-4a0fecec7678" providerId="ADAL" clId="{121DDFE8-C1B3-488F-AA1B-7A2D8DFD306D}" dt="2026-01-30T01:15:30.303" v="81" actId="478"/>
          <ac:spMkLst>
            <pc:docMk/>
            <pc:sldMk cId="1077344917" sldId="2147478870"/>
            <ac:spMk id="189" creationId="{B2458362-4EA6-F05D-7F8C-710DC19A628F}"/>
          </ac:spMkLst>
        </pc:spChg>
        <pc:spChg chg="del">
          <ac:chgData name="Marco Casiraghi" userId="34c8cd23-4fb6-4298-956c-4a0fecec7678" providerId="ADAL" clId="{121DDFE8-C1B3-488F-AA1B-7A2D8DFD306D}" dt="2026-01-30T01:15:33.600" v="82" actId="478"/>
          <ac:spMkLst>
            <pc:docMk/>
            <pc:sldMk cId="1077344917" sldId="2147478870"/>
            <ac:spMk id="195" creationId="{900451E0-BBD8-625C-C28E-CF18E6014F51}"/>
          </ac:spMkLst>
        </pc:spChg>
        <pc:spChg chg="del mod topLvl">
          <ac:chgData name="Marco Casiraghi" userId="34c8cd23-4fb6-4298-956c-4a0fecec7678" providerId="ADAL" clId="{121DDFE8-C1B3-488F-AA1B-7A2D8DFD306D}" dt="2026-01-30T01:15:30.303" v="81" actId="478"/>
          <ac:spMkLst>
            <pc:docMk/>
            <pc:sldMk cId="1077344917" sldId="2147478870"/>
            <ac:spMk id="201" creationId="{6CDC7D7C-8F65-4CEF-82ED-D40625C9E163}"/>
          </ac:spMkLst>
        </pc:spChg>
        <pc:spChg chg="del mod topLvl">
          <ac:chgData name="Marco Casiraghi" userId="34c8cd23-4fb6-4298-956c-4a0fecec7678" providerId="ADAL" clId="{121DDFE8-C1B3-488F-AA1B-7A2D8DFD306D}" dt="2026-01-30T01:15:30.303" v="81" actId="478"/>
          <ac:spMkLst>
            <pc:docMk/>
            <pc:sldMk cId="1077344917" sldId="2147478870"/>
            <ac:spMk id="202" creationId="{480DCB38-3997-DADA-E72C-6FCD761B257F}"/>
          </ac:spMkLst>
        </pc:spChg>
        <pc:spChg chg="del mod topLvl">
          <ac:chgData name="Marco Casiraghi" userId="34c8cd23-4fb6-4298-956c-4a0fecec7678" providerId="ADAL" clId="{121DDFE8-C1B3-488F-AA1B-7A2D8DFD306D}" dt="2026-01-30T01:15:30.303" v="81" actId="478"/>
          <ac:spMkLst>
            <pc:docMk/>
            <pc:sldMk cId="1077344917" sldId="2147478870"/>
            <ac:spMk id="203" creationId="{B3FFB12C-14A7-725F-66A4-2F0ADDE3AD06}"/>
          </ac:spMkLst>
        </pc:spChg>
        <pc:spChg chg="del mod topLvl">
          <ac:chgData name="Marco Casiraghi" userId="34c8cd23-4fb6-4298-956c-4a0fecec7678" providerId="ADAL" clId="{121DDFE8-C1B3-488F-AA1B-7A2D8DFD306D}" dt="2026-01-30T01:15:30.303" v="81" actId="478"/>
          <ac:spMkLst>
            <pc:docMk/>
            <pc:sldMk cId="1077344917" sldId="2147478870"/>
            <ac:spMk id="205" creationId="{9A1FB039-78FD-97CA-C964-F45D4BC7A3A1}"/>
          </ac:spMkLst>
        </pc:spChg>
        <pc:spChg chg="del mod topLvl">
          <ac:chgData name="Marco Casiraghi" userId="34c8cd23-4fb6-4298-956c-4a0fecec7678" providerId="ADAL" clId="{121DDFE8-C1B3-488F-AA1B-7A2D8DFD306D}" dt="2026-01-30T01:15:30.303" v="81" actId="478"/>
          <ac:spMkLst>
            <pc:docMk/>
            <pc:sldMk cId="1077344917" sldId="2147478870"/>
            <ac:spMk id="207" creationId="{A7600406-2315-C046-5C09-4653D9EC38AD}"/>
          </ac:spMkLst>
        </pc:spChg>
        <pc:spChg chg="del mod topLvl">
          <ac:chgData name="Marco Casiraghi" userId="34c8cd23-4fb6-4298-956c-4a0fecec7678" providerId="ADAL" clId="{121DDFE8-C1B3-488F-AA1B-7A2D8DFD306D}" dt="2026-01-30T01:15:30.303" v="81" actId="478"/>
          <ac:spMkLst>
            <pc:docMk/>
            <pc:sldMk cId="1077344917" sldId="2147478870"/>
            <ac:spMk id="208" creationId="{AA2D1BE3-9E80-75DD-A761-AF701B3DD8FE}"/>
          </ac:spMkLst>
        </pc:spChg>
        <pc:spChg chg="del">
          <ac:chgData name="Marco Casiraghi" userId="34c8cd23-4fb6-4298-956c-4a0fecec7678" providerId="ADAL" clId="{121DDFE8-C1B3-488F-AA1B-7A2D8DFD306D}" dt="2026-01-30T01:15:24.089" v="79" actId="478"/>
          <ac:spMkLst>
            <pc:docMk/>
            <pc:sldMk cId="1077344917" sldId="2147478870"/>
            <ac:spMk id="209" creationId="{A1AA42EA-2C7D-4B02-ACC6-BD7C06AE3057}"/>
          </ac:spMkLst>
        </pc:spChg>
        <pc:spChg chg="add mod">
          <ac:chgData name="Marco Casiraghi" userId="34c8cd23-4fb6-4298-956c-4a0fecec7678" providerId="ADAL" clId="{121DDFE8-C1B3-488F-AA1B-7A2D8DFD306D}" dt="2026-01-30T01:16:08.137" v="86"/>
          <ac:spMkLst>
            <pc:docMk/>
            <pc:sldMk cId="1077344917" sldId="2147478870"/>
            <ac:spMk id="216" creationId="{32C375CC-DA9C-AFC0-E975-A1BAAB463887}"/>
          </ac:spMkLst>
        </pc:spChg>
        <pc:spChg chg="add mod">
          <ac:chgData name="Marco Casiraghi" userId="34c8cd23-4fb6-4298-956c-4a0fecec7678" providerId="ADAL" clId="{121DDFE8-C1B3-488F-AA1B-7A2D8DFD306D}" dt="2026-01-30T01:16:08.137" v="86"/>
          <ac:spMkLst>
            <pc:docMk/>
            <pc:sldMk cId="1077344917" sldId="2147478870"/>
            <ac:spMk id="218" creationId="{FA020206-FC19-CFD3-DEE1-A07457D92486}"/>
          </ac:spMkLst>
        </pc:spChg>
        <pc:spChg chg="mod">
          <ac:chgData name="Marco Casiraghi" userId="34c8cd23-4fb6-4298-956c-4a0fecec7678" providerId="ADAL" clId="{121DDFE8-C1B3-488F-AA1B-7A2D8DFD306D}" dt="2026-01-30T01:18:25.668" v="223" actId="20577"/>
          <ac:spMkLst>
            <pc:docMk/>
            <pc:sldMk cId="1077344917" sldId="2147478870"/>
            <ac:spMk id="232" creationId="{EB9CFDFD-8B2D-5FE9-A89E-0421773C3121}"/>
          </ac:spMkLst>
        </pc:spChg>
        <pc:spChg chg="add mod">
          <ac:chgData name="Marco Casiraghi" userId="34c8cd23-4fb6-4298-956c-4a0fecec7678" providerId="ADAL" clId="{121DDFE8-C1B3-488F-AA1B-7A2D8DFD306D}" dt="2026-01-30T01:16:08.137" v="86"/>
          <ac:spMkLst>
            <pc:docMk/>
            <pc:sldMk cId="1077344917" sldId="2147478870"/>
            <ac:spMk id="234" creationId="{2D6D8046-63E3-87AC-992B-2CBA8BD59E94}"/>
          </ac:spMkLst>
        </pc:spChg>
        <pc:spChg chg="add mod">
          <ac:chgData name="Marco Casiraghi" userId="34c8cd23-4fb6-4298-956c-4a0fecec7678" providerId="ADAL" clId="{121DDFE8-C1B3-488F-AA1B-7A2D8DFD306D}" dt="2026-01-30T01:16:08.137" v="86"/>
          <ac:spMkLst>
            <pc:docMk/>
            <pc:sldMk cId="1077344917" sldId="2147478870"/>
            <ac:spMk id="236" creationId="{46469D13-ABEC-C0E5-C0A3-21376D2DB6F4}"/>
          </ac:spMkLst>
        </pc:spChg>
        <pc:spChg chg="mod">
          <ac:chgData name="Marco Casiraghi" userId="34c8cd23-4fb6-4298-956c-4a0fecec7678" providerId="ADAL" clId="{121DDFE8-C1B3-488F-AA1B-7A2D8DFD306D}" dt="2026-01-30T01:19:21.496" v="242"/>
          <ac:spMkLst>
            <pc:docMk/>
            <pc:sldMk cId="1077344917" sldId="2147478870"/>
            <ac:spMk id="237" creationId="{AE2784DC-345A-3560-6B02-E984B1831581}"/>
          </ac:spMkLst>
        </pc:spChg>
        <pc:spChg chg="mod">
          <ac:chgData name="Marco Casiraghi" userId="34c8cd23-4fb6-4298-956c-4a0fecec7678" providerId="ADAL" clId="{121DDFE8-C1B3-488F-AA1B-7A2D8DFD306D}" dt="2026-01-30T01:19:19.127" v="241" actId="20577"/>
          <ac:spMkLst>
            <pc:docMk/>
            <pc:sldMk cId="1077344917" sldId="2147478870"/>
            <ac:spMk id="238" creationId="{792485AA-1672-7031-4292-950539000A69}"/>
          </ac:spMkLst>
        </pc:spChg>
        <pc:spChg chg="add mod">
          <ac:chgData name="Marco Casiraghi" userId="34c8cd23-4fb6-4298-956c-4a0fecec7678" providerId="ADAL" clId="{121DDFE8-C1B3-488F-AA1B-7A2D8DFD306D}" dt="2026-01-30T01:16:08.137" v="86"/>
          <ac:spMkLst>
            <pc:docMk/>
            <pc:sldMk cId="1077344917" sldId="2147478870"/>
            <ac:spMk id="240" creationId="{69CA32BE-8478-A506-DB17-37AAD0D04125}"/>
          </ac:spMkLst>
        </pc:spChg>
        <pc:spChg chg="add mod">
          <ac:chgData name="Marco Casiraghi" userId="34c8cd23-4fb6-4298-956c-4a0fecec7678" providerId="ADAL" clId="{121DDFE8-C1B3-488F-AA1B-7A2D8DFD306D}" dt="2026-01-30T01:16:08.137" v="86"/>
          <ac:spMkLst>
            <pc:docMk/>
            <pc:sldMk cId="1077344917" sldId="2147478870"/>
            <ac:spMk id="248" creationId="{177902C5-885A-EAA4-7237-786360ED8CD3}"/>
          </ac:spMkLst>
        </pc:spChg>
        <pc:spChg chg="add mod">
          <ac:chgData name="Marco Casiraghi" userId="34c8cd23-4fb6-4298-956c-4a0fecec7678" providerId="ADAL" clId="{121DDFE8-C1B3-488F-AA1B-7A2D8DFD306D}" dt="2026-01-30T01:16:08.137" v="86"/>
          <ac:spMkLst>
            <pc:docMk/>
            <pc:sldMk cId="1077344917" sldId="2147478870"/>
            <ac:spMk id="255" creationId="{3084B48A-F837-CF69-A1B2-9F15B74A15BD}"/>
          </ac:spMkLst>
        </pc:spChg>
        <pc:spChg chg="mod">
          <ac:chgData name="Marco Casiraghi" userId="34c8cd23-4fb6-4298-956c-4a0fecec7678" providerId="ADAL" clId="{121DDFE8-C1B3-488F-AA1B-7A2D8DFD306D}" dt="2026-01-30T01:19:13.046" v="240" actId="179"/>
          <ac:spMkLst>
            <pc:docMk/>
            <pc:sldMk cId="1077344917" sldId="2147478870"/>
            <ac:spMk id="256" creationId="{3FEAB779-7204-EB0C-D118-581AC3579B3A}"/>
          </ac:spMkLst>
        </pc:spChg>
        <pc:spChg chg="add del mod">
          <ac:chgData name="Marco Casiraghi" userId="34c8cd23-4fb6-4298-956c-4a0fecec7678" providerId="ADAL" clId="{121DDFE8-C1B3-488F-AA1B-7A2D8DFD306D}" dt="2026-01-30T01:21:39.412" v="354" actId="478"/>
          <ac:spMkLst>
            <pc:docMk/>
            <pc:sldMk cId="1077344917" sldId="2147478870"/>
            <ac:spMk id="272" creationId="{A4F29645-6062-BAA4-6E9E-BF750360DB42}"/>
          </ac:spMkLst>
        </pc:spChg>
        <pc:spChg chg="add mod">
          <ac:chgData name="Marco Casiraghi" userId="34c8cd23-4fb6-4298-956c-4a0fecec7678" providerId="ADAL" clId="{121DDFE8-C1B3-488F-AA1B-7A2D8DFD306D}" dt="2026-01-30T01:21:42.160" v="360" actId="948"/>
          <ac:spMkLst>
            <pc:docMk/>
            <pc:sldMk cId="1077344917" sldId="2147478870"/>
            <ac:spMk id="273" creationId="{0EAB7106-905D-B7E0-F0B9-13186FAA21A3}"/>
          </ac:spMkLst>
        </pc:spChg>
        <pc:spChg chg="add del mod modVis">
          <ac:chgData name="Marco Casiraghi" userId="34c8cd23-4fb6-4298-956c-4a0fecec7678" providerId="ADAL" clId="{121DDFE8-C1B3-488F-AA1B-7A2D8DFD306D}" dt="2026-01-30T01:21:42.187" v="382"/>
          <ac:spMkLst>
            <pc:docMk/>
            <pc:sldMk cId="1077344917" sldId="2147478870"/>
            <ac:spMk id="274" creationId="{EF9CC4D0-232A-B9D6-EC62-A80564B06E66}"/>
          </ac:spMkLst>
        </pc:spChg>
        <pc:graphicFrameChg chg="mod">
          <ac:chgData name="Marco Casiraghi" userId="34c8cd23-4fb6-4298-956c-4a0fecec7678" providerId="ADAL" clId="{121DDFE8-C1B3-488F-AA1B-7A2D8DFD306D}" dt="2026-01-30T01:21:42.188" v="384"/>
          <ac:graphicFrameMkLst>
            <pc:docMk/>
            <pc:sldMk cId="1077344917" sldId="2147478870"/>
            <ac:graphicFrameMk id="212" creationId="{542AC243-2565-A713-004F-E7B24C69D777}"/>
          </ac:graphicFrameMkLst>
        </pc:graphicFrameChg>
        <pc:cxnChg chg="del">
          <ac:chgData name="Marco Casiraghi" userId="34c8cd23-4fb6-4298-956c-4a0fecec7678" providerId="ADAL" clId="{121DDFE8-C1B3-488F-AA1B-7A2D8DFD306D}" dt="2026-01-30T01:15:24.089" v="79" actId="478"/>
          <ac:cxnSpMkLst>
            <pc:docMk/>
            <pc:sldMk cId="1077344917" sldId="2147478870"/>
            <ac:cxnSpMk id="111" creationId="{4968545F-7460-B10B-67F8-C1899E442C2E}"/>
          </ac:cxnSpMkLst>
        </pc:cxnChg>
        <pc:cxnChg chg="del">
          <ac:chgData name="Marco Casiraghi" userId="34c8cd23-4fb6-4298-956c-4a0fecec7678" providerId="ADAL" clId="{121DDFE8-C1B3-488F-AA1B-7A2D8DFD306D}" dt="2026-01-30T01:15:24.089" v="79" actId="478"/>
          <ac:cxnSpMkLst>
            <pc:docMk/>
            <pc:sldMk cId="1077344917" sldId="2147478870"/>
            <ac:cxnSpMk id="112" creationId="{9A492B2F-8B6F-EFA7-B202-688D4DB5D774}"/>
          </ac:cxnSpMkLst>
        </pc:cxnChg>
        <pc:cxnChg chg="del">
          <ac:chgData name="Marco Casiraghi" userId="34c8cd23-4fb6-4298-956c-4a0fecec7678" providerId="ADAL" clId="{121DDFE8-C1B3-488F-AA1B-7A2D8DFD306D}" dt="2026-01-30T01:15:24.089" v="79" actId="478"/>
          <ac:cxnSpMkLst>
            <pc:docMk/>
            <pc:sldMk cId="1077344917" sldId="2147478870"/>
            <ac:cxnSpMk id="114" creationId="{B704F676-16A1-29A9-A012-19DD0F3BF05F}"/>
          </ac:cxnSpMkLst>
        </pc:cxnChg>
        <pc:cxnChg chg="del">
          <ac:chgData name="Marco Casiraghi" userId="34c8cd23-4fb6-4298-956c-4a0fecec7678" providerId="ADAL" clId="{121DDFE8-C1B3-488F-AA1B-7A2D8DFD306D}" dt="2026-01-30T01:15:24.089" v="79" actId="478"/>
          <ac:cxnSpMkLst>
            <pc:docMk/>
            <pc:sldMk cId="1077344917" sldId="2147478870"/>
            <ac:cxnSpMk id="116" creationId="{27C7C4A5-9371-3D9A-538D-AE5641131962}"/>
          </ac:cxnSpMkLst>
        </pc:cxnChg>
        <pc:cxnChg chg="del">
          <ac:chgData name="Marco Casiraghi" userId="34c8cd23-4fb6-4298-956c-4a0fecec7678" providerId="ADAL" clId="{121DDFE8-C1B3-488F-AA1B-7A2D8DFD306D}" dt="2026-01-30T01:15:24.089" v="79" actId="478"/>
          <ac:cxnSpMkLst>
            <pc:docMk/>
            <pc:sldMk cId="1077344917" sldId="2147478870"/>
            <ac:cxnSpMk id="117" creationId="{FAA4A58B-680A-91CD-3597-22D367195523}"/>
          </ac:cxnSpMkLst>
        </pc:cxnChg>
        <pc:cxnChg chg="del">
          <ac:chgData name="Marco Casiraghi" userId="34c8cd23-4fb6-4298-956c-4a0fecec7678" providerId="ADAL" clId="{121DDFE8-C1B3-488F-AA1B-7A2D8DFD306D}" dt="2026-01-30T01:15:24.089" v="79" actId="478"/>
          <ac:cxnSpMkLst>
            <pc:docMk/>
            <pc:sldMk cId="1077344917" sldId="2147478870"/>
            <ac:cxnSpMk id="120" creationId="{3EECAE13-2BCF-3771-3DFD-24310B765152}"/>
          </ac:cxnSpMkLst>
        </pc:cxnChg>
        <pc:cxnChg chg="del">
          <ac:chgData name="Marco Casiraghi" userId="34c8cd23-4fb6-4298-956c-4a0fecec7678" providerId="ADAL" clId="{121DDFE8-C1B3-488F-AA1B-7A2D8DFD306D}" dt="2026-01-30T01:15:24.089" v="79" actId="478"/>
          <ac:cxnSpMkLst>
            <pc:docMk/>
            <pc:sldMk cId="1077344917" sldId="2147478870"/>
            <ac:cxnSpMk id="124" creationId="{34DB75B3-B053-287F-35FC-DC33CBE68473}"/>
          </ac:cxnSpMkLst>
        </pc:cxnChg>
        <pc:cxnChg chg="add mod">
          <ac:chgData name="Marco Casiraghi" userId="34c8cd23-4fb6-4298-956c-4a0fecec7678" providerId="ADAL" clId="{121DDFE8-C1B3-488F-AA1B-7A2D8DFD306D}" dt="2026-01-30T01:16:28.387" v="87"/>
          <ac:cxnSpMkLst>
            <pc:docMk/>
            <pc:sldMk cId="1077344917" sldId="2147478870"/>
            <ac:cxnSpMk id="257" creationId="{9C141006-20A0-8866-AEAF-4DB318DCF61C}"/>
          </ac:cxnSpMkLst>
        </pc:cxnChg>
        <pc:cxnChg chg="add mod">
          <ac:chgData name="Marco Casiraghi" userId="34c8cd23-4fb6-4298-956c-4a0fecec7678" providerId="ADAL" clId="{121DDFE8-C1B3-488F-AA1B-7A2D8DFD306D}" dt="2026-01-30T01:16:28.387" v="87"/>
          <ac:cxnSpMkLst>
            <pc:docMk/>
            <pc:sldMk cId="1077344917" sldId="2147478870"/>
            <ac:cxnSpMk id="258" creationId="{F5A5313B-582E-B78F-91D8-0F334A2C5C6B}"/>
          </ac:cxnSpMkLst>
        </pc:cxnChg>
        <pc:cxnChg chg="add mod">
          <ac:chgData name="Marco Casiraghi" userId="34c8cd23-4fb6-4298-956c-4a0fecec7678" providerId="ADAL" clId="{121DDFE8-C1B3-488F-AA1B-7A2D8DFD306D}" dt="2026-01-30T01:16:28.387" v="87"/>
          <ac:cxnSpMkLst>
            <pc:docMk/>
            <pc:sldMk cId="1077344917" sldId="2147478870"/>
            <ac:cxnSpMk id="260" creationId="{DFE4B232-3842-9F05-7878-0CD2FEB1D972}"/>
          </ac:cxnSpMkLst>
        </pc:cxnChg>
        <pc:cxnChg chg="add mod">
          <ac:chgData name="Marco Casiraghi" userId="34c8cd23-4fb6-4298-956c-4a0fecec7678" providerId="ADAL" clId="{121DDFE8-C1B3-488F-AA1B-7A2D8DFD306D}" dt="2026-01-30T01:16:28.387" v="87"/>
          <ac:cxnSpMkLst>
            <pc:docMk/>
            <pc:sldMk cId="1077344917" sldId="2147478870"/>
            <ac:cxnSpMk id="261" creationId="{C4F77704-9D73-FF94-B857-7FCF2666395A}"/>
          </ac:cxnSpMkLst>
        </pc:cxnChg>
        <pc:cxnChg chg="add mod">
          <ac:chgData name="Marco Casiraghi" userId="34c8cd23-4fb6-4298-956c-4a0fecec7678" providerId="ADAL" clId="{121DDFE8-C1B3-488F-AA1B-7A2D8DFD306D}" dt="2026-01-30T01:16:28.387" v="87"/>
          <ac:cxnSpMkLst>
            <pc:docMk/>
            <pc:sldMk cId="1077344917" sldId="2147478870"/>
            <ac:cxnSpMk id="265" creationId="{5FBCE587-027B-573F-3206-C487C279586D}"/>
          </ac:cxnSpMkLst>
        </pc:cxnChg>
        <pc:cxnChg chg="add mod">
          <ac:chgData name="Marco Casiraghi" userId="34c8cd23-4fb6-4298-956c-4a0fecec7678" providerId="ADAL" clId="{121DDFE8-C1B3-488F-AA1B-7A2D8DFD306D}" dt="2026-01-30T01:16:28.387" v="87"/>
          <ac:cxnSpMkLst>
            <pc:docMk/>
            <pc:sldMk cId="1077344917" sldId="2147478870"/>
            <ac:cxnSpMk id="266" creationId="{C7741BFD-CAD2-21A3-EF92-18950CC9B128}"/>
          </ac:cxnSpMkLst>
        </pc:cxnChg>
        <pc:cxnChg chg="add mod">
          <ac:chgData name="Marco Casiraghi" userId="34c8cd23-4fb6-4298-956c-4a0fecec7678" providerId="ADAL" clId="{121DDFE8-C1B3-488F-AA1B-7A2D8DFD306D}" dt="2026-01-30T01:16:28.387" v="87"/>
          <ac:cxnSpMkLst>
            <pc:docMk/>
            <pc:sldMk cId="1077344917" sldId="2147478870"/>
            <ac:cxnSpMk id="267" creationId="{3BE64A89-8124-85E2-15F1-7A4A164C5EFE}"/>
          </ac:cxnSpMkLst>
        </pc:cxnChg>
        <pc:cxnChg chg="add mod">
          <ac:chgData name="Marco Casiraghi" userId="34c8cd23-4fb6-4298-956c-4a0fecec7678" providerId="ADAL" clId="{121DDFE8-C1B3-488F-AA1B-7A2D8DFD306D}" dt="2026-01-30T01:16:28.387" v="87"/>
          <ac:cxnSpMkLst>
            <pc:docMk/>
            <pc:sldMk cId="1077344917" sldId="2147478870"/>
            <ac:cxnSpMk id="268" creationId="{7D5F010B-D293-3E5F-9440-5AC53EED99E7}"/>
          </ac:cxnSpMkLst>
        </pc:cxnChg>
        <pc:cxnChg chg="add mod">
          <ac:chgData name="Marco Casiraghi" userId="34c8cd23-4fb6-4298-956c-4a0fecec7678" providerId="ADAL" clId="{121DDFE8-C1B3-488F-AA1B-7A2D8DFD306D}" dt="2026-01-30T01:16:28.387" v="87"/>
          <ac:cxnSpMkLst>
            <pc:docMk/>
            <pc:sldMk cId="1077344917" sldId="2147478870"/>
            <ac:cxnSpMk id="269" creationId="{4A2BC50D-F67A-E1C0-F083-67E7168F8A3D}"/>
          </ac:cxnSpMkLst>
        </pc:cxnChg>
        <pc:cxnChg chg="add mod">
          <ac:chgData name="Marco Casiraghi" userId="34c8cd23-4fb6-4298-956c-4a0fecec7678" providerId="ADAL" clId="{121DDFE8-C1B3-488F-AA1B-7A2D8DFD306D}" dt="2026-01-30T01:16:28.387" v="87"/>
          <ac:cxnSpMkLst>
            <pc:docMk/>
            <pc:sldMk cId="1077344917" sldId="2147478870"/>
            <ac:cxnSpMk id="270" creationId="{EF09FBAF-89A5-4040-A459-65B4D01CFAAB}"/>
          </ac:cxnSpMkLst>
        </pc:cxnChg>
      </pc:sldChg>
      <pc:sldChg chg="addSp delSp modSp add del mod">
        <pc:chgData name="Marco Casiraghi" userId="34c8cd23-4fb6-4298-956c-4a0fecec7678" providerId="ADAL" clId="{121DDFE8-C1B3-488F-AA1B-7A2D8DFD306D}" dt="2026-01-30T01:24:55.255" v="1916" actId="47"/>
        <pc:sldMkLst>
          <pc:docMk/>
          <pc:sldMk cId="3297004888" sldId="2147478871"/>
        </pc:sldMkLst>
        <pc:spChg chg="del">
          <ac:chgData name="Marco Casiraghi" userId="34c8cd23-4fb6-4298-956c-4a0fecec7678" providerId="ADAL" clId="{121DDFE8-C1B3-488F-AA1B-7A2D8DFD306D}" dt="2026-01-30T01:20:02.890" v="275" actId="478"/>
          <ac:spMkLst>
            <pc:docMk/>
            <pc:sldMk cId="3297004888" sldId="2147478871"/>
            <ac:spMk id="2" creationId="{15B9FAA8-D729-0F83-9D63-C0B2D6A069F3}"/>
          </ac:spMkLst>
        </pc:spChg>
        <pc:spChg chg="del mod">
          <ac:chgData name="Marco Casiraghi" userId="34c8cd23-4fb6-4298-956c-4a0fecec7678" providerId="ADAL" clId="{121DDFE8-C1B3-488F-AA1B-7A2D8DFD306D}" dt="2026-01-30T01:21:45.626" v="385" actId="478"/>
          <ac:spMkLst>
            <pc:docMk/>
            <pc:sldMk cId="3297004888" sldId="2147478871"/>
            <ac:spMk id="4" creationId="{EA4DC4B3-B3C8-F3AE-C7AE-FA5AA35B0BF4}"/>
          </ac:spMkLst>
        </pc:spChg>
        <pc:spChg chg="add mod">
          <ac:chgData name="Marco Casiraghi" userId="34c8cd23-4fb6-4298-956c-4a0fecec7678" providerId="ADAL" clId="{121DDFE8-C1B3-488F-AA1B-7A2D8DFD306D}" dt="2026-01-30T01:16:57.623" v="94"/>
          <ac:spMkLst>
            <pc:docMk/>
            <pc:sldMk cId="3297004888" sldId="2147478871"/>
            <ac:spMk id="7" creationId="{A0D70BE7-F73E-3570-FD2C-E1C3E529D1B3}"/>
          </ac:spMkLst>
        </pc:spChg>
        <pc:spChg chg="add mod">
          <ac:chgData name="Marco Casiraghi" userId="34c8cd23-4fb6-4298-956c-4a0fecec7678" providerId="ADAL" clId="{121DDFE8-C1B3-488F-AA1B-7A2D8DFD306D}" dt="2026-01-30T01:16:57.623" v="94"/>
          <ac:spMkLst>
            <pc:docMk/>
            <pc:sldMk cId="3297004888" sldId="2147478871"/>
            <ac:spMk id="11" creationId="{59793972-09C8-FF7D-80AF-614293E18D4D}"/>
          </ac:spMkLst>
        </pc:spChg>
        <pc:spChg chg="add mod">
          <ac:chgData name="Marco Casiraghi" userId="34c8cd23-4fb6-4298-956c-4a0fecec7678" providerId="ADAL" clId="{121DDFE8-C1B3-488F-AA1B-7A2D8DFD306D}" dt="2026-01-30T01:16:57.623" v="94"/>
          <ac:spMkLst>
            <pc:docMk/>
            <pc:sldMk cId="3297004888" sldId="2147478871"/>
            <ac:spMk id="12" creationId="{69F518FD-A816-2F6C-BF39-86E6ECF422A1}"/>
          </ac:spMkLst>
        </pc:spChg>
        <pc:spChg chg="add mod">
          <ac:chgData name="Marco Casiraghi" userId="34c8cd23-4fb6-4298-956c-4a0fecec7678" providerId="ADAL" clId="{121DDFE8-C1B3-488F-AA1B-7A2D8DFD306D}" dt="2026-01-30T01:16:57.623" v="94"/>
          <ac:spMkLst>
            <pc:docMk/>
            <pc:sldMk cId="3297004888" sldId="2147478871"/>
            <ac:spMk id="16" creationId="{0B758C6D-7588-BCA9-4E47-AC48CCD91D3D}"/>
          </ac:spMkLst>
        </pc:spChg>
        <pc:spChg chg="add mod">
          <ac:chgData name="Marco Casiraghi" userId="34c8cd23-4fb6-4298-956c-4a0fecec7678" providerId="ADAL" clId="{121DDFE8-C1B3-488F-AA1B-7A2D8DFD306D}" dt="2026-01-30T01:16:57.623" v="94"/>
          <ac:spMkLst>
            <pc:docMk/>
            <pc:sldMk cId="3297004888" sldId="2147478871"/>
            <ac:spMk id="18" creationId="{FA4B5AFF-3EB1-6D86-66B5-A8C0CA1A7E8B}"/>
          </ac:spMkLst>
        </pc:spChg>
        <pc:spChg chg="add mod">
          <ac:chgData name="Marco Casiraghi" userId="34c8cd23-4fb6-4298-956c-4a0fecec7678" providerId="ADAL" clId="{121DDFE8-C1B3-488F-AA1B-7A2D8DFD306D}" dt="2026-01-30T01:16:57.623" v="94"/>
          <ac:spMkLst>
            <pc:docMk/>
            <pc:sldMk cId="3297004888" sldId="2147478871"/>
            <ac:spMk id="29" creationId="{D8CA7592-824B-2BE2-B76C-70C680039E23}"/>
          </ac:spMkLst>
        </pc:spChg>
        <pc:spChg chg="add mod">
          <ac:chgData name="Marco Casiraghi" userId="34c8cd23-4fb6-4298-956c-4a0fecec7678" providerId="ADAL" clId="{121DDFE8-C1B3-488F-AA1B-7A2D8DFD306D}" dt="2026-01-30T01:16:57.623" v="94"/>
          <ac:spMkLst>
            <pc:docMk/>
            <pc:sldMk cId="3297004888" sldId="2147478871"/>
            <ac:spMk id="34" creationId="{A625C28A-30D5-5A47-ED0E-B812B4FC5F17}"/>
          </ac:spMkLst>
        </pc:spChg>
        <pc:spChg chg="add mod">
          <ac:chgData name="Marco Casiraghi" userId="34c8cd23-4fb6-4298-956c-4a0fecec7678" providerId="ADAL" clId="{121DDFE8-C1B3-488F-AA1B-7A2D8DFD306D}" dt="2026-01-30T01:16:57.623" v="94"/>
          <ac:spMkLst>
            <pc:docMk/>
            <pc:sldMk cId="3297004888" sldId="2147478871"/>
            <ac:spMk id="38" creationId="{067930BB-9EF9-6E5E-BFD3-A5D0E29C97D9}"/>
          </ac:spMkLst>
        </pc:spChg>
        <pc:spChg chg="add mod">
          <ac:chgData name="Marco Casiraghi" userId="34c8cd23-4fb6-4298-956c-4a0fecec7678" providerId="ADAL" clId="{121DDFE8-C1B3-488F-AA1B-7A2D8DFD306D}" dt="2026-01-30T01:16:57.623" v="94"/>
          <ac:spMkLst>
            <pc:docMk/>
            <pc:sldMk cId="3297004888" sldId="2147478871"/>
            <ac:spMk id="44" creationId="{F66DBBA6-287B-FE93-5B3E-D6A1B3001861}"/>
          </ac:spMkLst>
        </pc:spChg>
        <pc:spChg chg="add mod">
          <ac:chgData name="Marco Casiraghi" userId="34c8cd23-4fb6-4298-956c-4a0fecec7678" providerId="ADAL" clId="{121DDFE8-C1B3-488F-AA1B-7A2D8DFD306D}" dt="2026-01-30T01:16:57.623" v="94"/>
          <ac:spMkLst>
            <pc:docMk/>
            <pc:sldMk cId="3297004888" sldId="2147478871"/>
            <ac:spMk id="54" creationId="{4BD9C439-7893-EDD1-EDDE-8C2F71EE0524}"/>
          </ac:spMkLst>
        </pc:spChg>
        <pc:spChg chg="del">
          <ac:chgData name="Marco Casiraghi" userId="34c8cd23-4fb6-4298-956c-4a0fecec7678" providerId="ADAL" clId="{121DDFE8-C1B3-488F-AA1B-7A2D8DFD306D}" dt="2026-01-30T01:16:43.344" v="91" actId="478"/>
          <ac:spMkLst>
            <pc:docMk/>
            <pc:sldMk cId="3297004888" sldId="2147478871"/>
            <ac:spMk id="84" creationId="{BDD07EEC-BAB1-016B-D031-32FCEF6051DD}"/>
          </ac:spMkLst>
        </pc:spChg>
        <pc:spChg chg="del">
          <ac:chgData name="Marco Casiraghi" userId="34c8cd23-4fb6-4298-956c-4a0fecec7678" providerId="ADAL" clId="{121DDFE8-C1B3-488F-AA1B-7A2D8DFD306D}" dt="2026-01-30T01:16:43.344" v="91" actId="478"/>
          <ac:spMkLst>
            <pc:docMk/>
            <pc:sldMk cId="3297004888" sldId="2147478871"/>
            <ac:spMk id="85" creationId="{AF089154-C34B-3C29-E49E-D8C2E4309484}"/>
          </ac:spMkLst>
        </pc:spChg>
        <pc:spChg chg="del">
          <ac:chgData name="Marco Casiraghi" userId="34c8cd23-4fb6-4298-956c-4a0fecec7678" providerId="ADAL" clId="{121DDFE8-C1B3-488F-AA1B-7A2D8DFD306D}" dt="2026-01-30T01:16:43.344" v="91" actId="478"/>
          <ac:spMkLst>
            <pc:docMk/>
            <pc:sldMk cId="3297004888" sldId="2147478871"/>
            <ac:spMk id="100" creationId="{8BF137E9-51F2-31E6-109A-4F56FA88E935}"/>
          </ac:spMkLst>
        </pc:spChg>
        <pc:spChg chg="add del mod modVis">
          <ac:chgData name="Marco Casiraghi" userId="34c8cd23-4fb6-4298-956c-4a0fecec7678" providerId="ADAL" clId="{121DDFE8-C1B3-488F-AA1B-7A2D8DFD306D}" dt="2026-01-30T01:17:14.164" v="120"/>
          <ac:spMkLst>
            <pc:docMk/>
            <pc:sldMk cId="3297004888" sldId="2147478871"/>
            <ac:spMk id="128" creationId="{61C8D4C4-7A2B-19D2-07F8-932C917D0E8E}"/>
          </ac:spMkLst>
        </pc:spChg>
        <pc:spChg chg="add del mod">
          <ac:chgData name="Marco Casiraghi" userId="34c8cd23-4fb6-4298-956c-4a0fecec7678" providerId="ADAL" clId="{121DDFE8-C1B3-488F-AA1B-7A2D8DFD306D}" dt="2026-01-30T01:21:47.639" v="388" actId="478"/>
          <ac:spMkLst>
            <pc:docMk/>
            <pc:sldMk cId="3297004888" sldId="2147478871"/>
            <ac:spMk id="130" creationId="{F168BAA5-F8BE-1B96-CBF3-5CEFC778A709}"/>
          </ac:spMkLst>
        </pc:spChg>
        <pc:spChg chg="add mod">
          <ac:chgData name="Marco Casiraghi" userId="34c8cd23-4fb6-4298-956c-4a0fecec7678" providerId="ADAL" clId="{121DDFE8-C1B3-488F-AA1B-7A2D8DFD306D}" dt="2026-01-30T01:21:50.476" v="417" actId="948"/>
          <ac:spMkLst>
            <pc:docMk/>
            <pc:sldMk cId="3297004888" sldId="2147478871"/>
            <ac:spMk id="131" creationId="{D0BADEB8-D537-961E-2508-3E898ED89310}"/>
          </ac:spMkLst>
        </pc:spChg>
        <pc:spChg chg="add del mod modVis">
          <ac:chgData name="Marco Casiraghi" userId="34c8cd23-4fb6-4298-956c-4a0fecec7678" providerId="ADAL" clId="{121DDFE8-C1B3-488F-AA1B-7A2D8DFD306D}" dt="2026-01-30T01:21:48.222" v="412"/>
          <ac:spMkLst>
            <pc:docMk/>
            <pc:sldMk cId="3297004888" sldId="2147478871"/>
            <ac:spMk id="132" creationId="{CA80D234-79FA-A0D8-A814-C4C561F1C22C}"/>
          </ac:spMkLst>
        </pc:spChg>
        <pc:spChg chg="add del mod modVis">
          <ac:chgData name="Marco Casiraghi" userId="34c8cd23-4fb6-4298-956c-4a0fecec7678" providerId="ADAL" clId="{121DDFE8-C1B3-488F-AA1B-7A2D8DFD306D}" dt="2026-01-30T01:21:50.509" v="439"/>
          <ac:spMkLst>
            <pc:docMk/>
            <pc:sldMk cId="3297004888" sldId="2147478871"/>
            <ac:spMk id="133" creationId="{2C97C0D3-52B0-D213-EA15-0CF376A2A6B6}"/>
          </ac:spMkLst>
        </pc:spChg>
        <pc:spChg chg="del">
          <ac:chgData name="Marco Casiraghi" userId="34c8cd23-4fb6-4298-956c-4a0fecec7678" providerId="ADAL" clId="{121DDFE8-C1B3-488F-AA1B-7A2D8DFD306D}" dt="2026-01-30T01:16:43.344" v="91" actId="478"/>
          <ac:spMkLst>
            <pc:docMk/>
            <pc:sldMk cId="3297004888" sldId="2147478871"/>
            <ac:spMk id="213" creationId="{52D2F267-ADD5-A0F8-7CCA-DE1630ABAE1D}"/>
          </ac:spMkLst>
        </pc:spChg>
        <pc:spChg chg="del">
          <ac:chgData name="Marco Casiraghi" userId="34c8cd23-4fb6-4298-956c-4a0fecec7678" providerId="ADAL" clId="{121DDFE8-C1B3-488F-AA1B-7A2D8DFD306D}" dt="2026-01-30T01:16:43.344" v="91" actId="478"/>
          <ac:spMkLst>
            <pc:docMk/>
            <pc:sldMk cId="3297004888" sldId="2147478871"/>
            <ac:spMk id="215" creationId="{AD422BC2-279F-CF72-6280-627C10257198}"/>
          </ac:spMkLst>
        </pc:spChg>
        <pc:spChg chg="del">
          <ac:chgData name="Marco Casiraghi" userId="34c8cd23-4fb6-4298-956c-4a0fecec7678" providerId="ADAL" clId="{121DDFE8-C1B3-488F-AA1B-7A2D8DFD306D}" dt="2026-01-30T01:16:47.192" v="92" actId="478"/>
          <ac:spMkLst>
            <pc:docMk/>
            <pc:sldMk cId="3297004888" sldId="2147478871"/>
            <ac:spMk id="218" creationId="{AAA6DF6C-10ED-28BA-B867-0728090B5124}"/>
          </ac:spMkLst>
        </pc:spChg>
        <pc:spChg chg="del">
          <ac:chgData name="Marco Casiraghi" userId="34c8cd23-4fb6-4298-956c-4a0fecec7678" providerId="ADAL" clId="{121DDFE8-C1B3-488F-AA1B-7A2D8DFD306D}" dt="2026-01-30T01:16:43.344" v="91" actId="478"/>
          <ac:spMkLst>
            <pc:docMk/>
            <pc:sldMk cId="3297004888" sldId="2147478871"/>
            <ac:spMk id="221" creationId="{BAA7A1D5-EC2B-97CA-777B-3451D4598D66}"/>
          </ac:spMkLst>
        </pc:spChg>
        <pc:spChg chg="del">
          <ac:chgData name="Marco Casiraghi" userId="34c8cd23-4fb6-4298-956c-4a0fecec7678" providerId="ADAL" clId="{121DDFE8-C1B3-488F-AA1B-7A2D8DFD306D}" dt="2026-01-30T01:16:47.192" v="92" actId="478"/>
          <ac:spMkLst>
            <pc:docMk/>
            <pc:sldMk cId="3297004888" sldId="2147478871"/>
            <ac:spMk id="233" creationId="{C09FD7AC-5DFB-DA28-AB02-1883C4290319}"/>
          </ac:spMkLst>
        </pc:spChg>
        <pc:spChg chg="del">
          <ac:chgData name="Marco Casiraghi" userId="34c8cd23-4fb6-4298-956c-4a0fecec7678" providerId="ADAL" clId="{121DDFE8-C1B3-488F-AA1B-7A2D8DFD306D}" dt="2026-01-30T01:16:43.344" v="91" actId="478"/>
          <ac:spMkLst>
            <pc:docMk/>
            <pc:sldMk cId="3297004888" sldId="2147478871"/>
            <ac:spMk id="235" creationId="{055B60FC-9AD6-4C63-B3C0-D6C7DE4C53DB}"/>
          </ac:spMkLst>
        </pc:spChg>
        <pc:spChg chg="del">
          <ac:chgData name="Marco Casiraghi" userId="34c8cd23-4fb6-4298-956c-4a0fecec7678" providerId="ADAL" clId="{121DDFE8-C1B3-488F-AA1B-7A2D8DFD306D}" dt="2026-01-30T01:16:43.344" v="91" actId="478"/>
          <ac:spMkLst>
            <pc:docMk/>
            <pc:sldMk cId="3297004888" sldId="2147478871"/>
            <ac:spMk id="240" creationId="{4773ACE5-E275-0819-77E9-0B74D27411D5}"/>
          </ac:spMkLst>
        </pc:spChg>
        <pc:spChg chg="del">
          <ac:chgData name="Marco Casiraghi" userId="34c8cd23-4fb6-4298-956c-4a0fecec7678" providerId="ADAL" clId="{121DDFE8-C1B3-488F-AA1B-7A2D8DFD306D}" dt="2026-01-30T01:16:43.344" v="91" actId="478"/>
          <ac:spMkLst>
            <pc:docMk/>
            <pc:sldMk cId="3297004888" sldId="2147478871"/>
            <ac:spMk id="245" creationId="{CECC310A-8C3A-4B55-99C5-B35726C2787B}"/>
          </ac:spMkLst>
        </pc:spChg>
        <pc:spChg chg="del">
          <ac:chgData name="Marco Casiraghi" userId="34c8cd23-4fb6-4298-956c-4a0fecec7678" providerId="ADAL" clId="{121DDFE8-C1B3-488F-AA1B-7A2D8DFD306D}" dt="2026-01-30T01:16:47.192" v="92" actId="478"/>
          <ac:spMkLst>
            <pc:docMk/>
            <pc:sldMk cId="3297004888" sldId="2147478871"/>
            <ac:spMk id="248" creationId="{815DB028-94B4-265D-2A75-78F93F902C32}"/>
          </ac:spMkLst>
        </pc:spChg>
        <pc:spChg chg="del">
          <ac:chgData name="Marco Casiraghi" userId="34c8cd23-4fb6-4298-956c-4a0fecec7678" providerId="ADAL" clId="{121DDFE8-C1B3-488F-AA1B-7A2D8DFD306D}" dt="2026-01-30T01:16:43.344" v="91" actId="478"/>
          <ac:spMkLst>
            <pc:docMk/>
            <pc:sldMk cId="3297004888" sldId="2147478871"/>
            <ac:spMk id="252" creationId="{2A00D896-278B-0A6A-70FF-0B57312FC22D}"/>
          </ac:spMkLst>
        </pc:spChg>
        <pc:graphicFrameChg chg="mod">
          <ac:chgData name="Marco Casiraghi" userId="34c8cd23-4fb6-4298-956c-4a0fecec7678" providerId="ADAL" clId="{121DDFE8-C1B3-488F-AA1B-7A2D8DFD306D}" dt="2026-01-30T01:21:50.510" v="441"/>
          <ac:graphicFrameMkLst>
            <pc:docMk/>
            <pc:sldMk cId="3297004888" sldId="2147478871"/>
            <ac:graphicFrameMk id="212" creationId="{2427BF2D-26EC-0F8F-7DD9-567331F8E86F}"/>
          </ac:graphicFrameMkLst>
        </pc:graphicFrameChg>
        <pc:cxnChg chg="add mod">
          <ac:chgData name="Marco Casiraghi" userId="34c8cd23-4fb6-4298-956c-4a0fecec7678" providerId="ADAL" clId="{121DDFE8-C1B3-488F-AA1B-7A2D8DFD306D}" dt="2026-01-30T01:17:06.647" v="95"/>
          <ac:cxnSpMkLst>
            <pc:docMk/>
            <pc:sldMk cId="3297004888" sldId="2147478871"/>
            <ac:cxnSpMk id="112" creationId="{58DF5AE8-5C8F-AB61-D462-9AAC66F6DD11}"/>
          </ac:cxnSpMkLst>
        </pc:cxnChg>
        <pc:cxnChg chg="add mod">
          <ac:chgData name="Marco Casiraghi" userId="34c8cd23-4fb6-4298-956c-4a0fecec7678" providerId="ADAL" clId="{121DDFE8-C1B3-488F-AA1B-7A2D8DFD306D}" dt="2026-01-30T01:17:06.647" v="95"/>
          <ac:cxnSpMkLst>
            <pc:docMk/>
            <pc:sldMk cId="3297004888" sldId="2147478871"/>
            <ac:cxnSpMk id="113" creationId="{6A9310A1-7090-5AD9-0418-7B6519EA4747}"/>
          </ac:cxnSpMkLst>
        </pc:cxnChg>
        <pc:cxnChg chg="add mod">
          <ac:chgData name="Marco Casiraghi" userId="34c8cd23-4fb6-4298-956c-4a0fecec7678" providerId="ADAL" clId="{121DDFE8-C1B3-488F-AA1B-7A2D8DFD306D}" dt="2026-01-30T01:17:06.647" v="95"/>
          <ac:cxnSpMkLst>
            <pc:docMk/>
            <pc:sldMk cId="3297004888" sldId="2147478871"/>
            <ac:cxnSpMk id="114" creationId="{35D2AAFC-2361-18C2-BD6D-D46E33E91883}"/>
          </ac:cxnSpMkLst>
        </pc:cxnChg>
        <pc:cxnChg chg="add mod">
          <ac:chgData name="Marco Casiraghi" userId="34c8cd23-4fb6-4298-956c-4a0fecec7678" providerId="ADAL" clId="{121DDFE8-C1B3-488F-AA1B-7A2D8DFD306D}" dt="2026-01-30T01:17:06.647" v="95"/>
          <ac:cxnSpMkLst>
            <pc:docMk/>
            <pc:sldMk cId="3297004888" sldId="2147478871"/>
            <ac:cxnSpMk id="115" creationId="{11BC5E7C-1EB5-2EB9-9E51-41E7A4250816}"/>
          </ac:cxnSpMkLst>
        </pc:cxnChg>
        <pc:cxnChg chg="add mod">
          <ac:chgData name="Marco Casiraghi" userId="34c8cd23-4fb6-4298-956c-4a0fecec7678" providerId="ADAL" clId="{121DDFE8-C1B3-488F-AA1B-7A2D8DFD306D}" dt="2026-01-30T01:17:06.647" v="95"/>
          <ac:cxnSpMkLst>
            <pc:docMk/>
            <pc:sldMk cId="3297004888" sldId="2147478871"/>
            <ac:cxnSpMk id="117" creationId="{54A263BF-C36F-4DF8-EBEE-1B960F939346}"/>
          </ac:cxnSpMkLst>
        </pc:cxnChg>
        <pc:cxnChg chg="add mod">
          <ac:chgData name="Marco Casiraghi" userId="34c8cd23-4fb6-4298-956c-4a0fecec7678" providerId="ADAL" clId="{121DDFE8-C1B3-488F-AA1B-7A2D8DFD306D}" dt="2026-01-30T01:17:06.647" v="95"/>
          <ac:cxnSpMkLst>
            <pc:docMk/>
            <pc:sldMk cId="3297004888" sldId="2147478871"/>
            <ac:cxnSpMk id="119" creationId="{33F39459-3D60-82D4-229F-3C590A990117}"/>
          </ac:cxnSpMkLst>
        </pc:cxnChg>
        <pc:cxnChg chg="add mod">
          <ac:chgData name="Marco Casiraghi" userId="34c8cd23-4fb6-4298-956c-4a0fecec7678" providerId="ADAL" clId="{121DDFE8-C1B3-488F-AA1B-7A2D8DFD306D}" dt="2026-01-30T01:17:06.647" v="95"/>
          <ac:cxnSpMkLst>
            <pc:docMk/>
            <pc:sldMk cId="3297004888" sldId="2147478871"/>
            <ac:cxnSpMk id="120" creationId="{B462B20B-F9D8-7CE1-050A-10B406D1AEB6}"/>
          </ac:cxnSpMkLst>
        </pc:cxnChg>
        <pc:cxnChg chg="add mod">
          <ac:chgData name="Marco Casiraghi" userId="34c8cd23-4fb6-4298-956c-4a0fecec7678" providerId="ADAL" clId="{121DDFE8-C1B3-488F-AA1B-7A2D8DFD306D}" dt="2026-01-30T01:17:06.647" v="95"/>
          <ac:cxnSpMkLst>
            <pc:docMk/>
            <pc:sldMk cId="3297004888" sldId="2147478871"/>
            <ac:cxnSpMk id="121" creationId="{6ACF57AD-EF92-676D-7929-83F9E4BA0F25}"/>
          </ac:cxnSpMkLst>
        </pc:cxnChg>
        <pc:cxnChg chg="add mod">
          <ac:chgData name="Marco Casiraghi" userId="34c8cd23-4fb6-4298-956c-4a0fecec7678" providerId="ADAL" clId="{121DDFE8-C1B3-488F-AA1B-7A2D8DFD306D}" dt="2026-01-30T01:17:06.647" v="95"/>
          <ac:cxnSpMkLst>
            <pc:docMk/>
            <pc:sldMk cId="3297004888" sldId="2147478871"/>
            <ac:cxnSpMk id="122" creationId="{A5D1D43B-BC0F-81BD-6102-53BCAD8FC7D5}"/>
          </ac:cxnSpMkLst>
        </pc:cxnChg>
        <pc:cxnChg chg="add mod">
          <ac:chgData name="Marco Casiraghi" userId="34c8cd23-4fb6-4298-956c-4a0fecec7678" providerId="ADAL" clId="{121DDFE8-C1B3-488F-AA1B-7A2D8DFD306D}" dt="2026-01-30T01:17:06.647" v="95"/>
          <ac:cxnSpMkLst>
            <pc:docMk/>
            <pc:sldMk cId="3297004888" sldId="2147478871"/>
            <ac:cxnSpMk id="124" creationId="{7DDD4682-92DD-2AB8-A41F-B71C1E71E046}"/>
          </ac:cxnSpMkLst>
        </pc:cxnChg>
      </pc:sldChg>
      <pc:sldChg chg="addSp delSp modSp add del mod">
        <pc:chgData name="Marco Casiraghi" userId="34c8cd23-4fb6-4298-956c-4a0fecec7678" providerId="ADAL" clId="{121DDFE8-C1B3-488F-AA1B-7A2D8DFD306D}" dt="2026-01-30T01:25:27.313" v="2101" actId="47"/>
        <pc:sldMkLst>
          <pc:docMk/>
          <pc:sldMk cId="3919872166" sldId="2147478872"/>
        </pc:sldMkLst>
        <pc:spChg chg="del mod">
          <ac:chgData name="Marco Casiraghi" userId="34c8cd23-4fb6-4298-956c-4a0fecec7678" providerId="ADAL" clId="{121DDFE8-C1B3-488F-AA1B-7A2D8DFD306D}" dt="2026-01-30T01:21:54.859" v="442" actId="478"/>
          <ac:spMkLst>
            <pc:docMk/>
            <pc:sldMk cId="3919872166" sldId="2147478872"/>
            <ac:spMk id="4" creationId="{5FF7E015-03C9-C12A-B860-10AED4BCA1EF}"/>
          </ac:spMkLst>
        </pc:spChg>
        <pc:spChg chg="del">
          <ac:chgData name="Marco Casiraghi" userId="34c8cd23-4fb6-4298-956c-4a0fecec7678" providerId="ADAL" clId="{121DDFE8-C1B3-488F-AA1B-7A2D8DFD306D}" dt="2026-01-30T01:17:22.957" v="153" actId="478"/>
          <ac:spMkLst>
            <pc:docMk/>
            <pc:sldMk cId="3919872166" sldId="2147478872"/>
            <ac:spMk id="13" creationId="{C7ED9992-5A68-819D-DD00-708C89B131CA}"/>
          </ac:spMkLst>
        </pc:spChg>
        <pc:spChg chg="del">
          <ac:chgData name="Marco Casiraghi" userId="34c8cd23-4fb6-4298-956c-4a0fecec7678" providerId="ADAL" clId="{121DDFE8-C1B3-488F-AA1B-7A2D8DFD306D}" dt="2026-01-30T01:17:22.957" v="153" actId="478"/>
          <ac:spMkLst>
            <pc:docMk/>
            <pc:sldMk cId="3919872166" sldId="2147478872"/>
            <ac:spMk id="14" creationId="{06A72C9F-4496-1AAD-B1BE-69C7800DA189}"/>
          </ac:spMkLst>
        </pc:spChg>
        <pc:spChg chg="del">
          <ac:chgData name="Marco Casiraghi" userId="34c8cd23-4fb6-4298-956c-4a0fecec7678" providerId="ADAL" clId="{121DDFE8-C1B3-488F-AA1B-7A2D8DFD306D}" dt="2026-01-30T01:17:22.957" v="153" actId="478"/>
          <ac:spMkLst>
            <pc:docMk/>
            <pc:sldMk cId="3919872166" sldId="2147478872"/>
            <ac:spMk id="20" creationId="{7157A0E3-4D1A-EF95-4360-F917D8630799}"/>
          </ac:spMkLst>
        </pc:spChg>
        <pc:spChg chg="del">
          <ac:chgData name="Marco Casiraghi" userId="34c8cd23-4fb6-4298-956c-4a0fecec7678" providerId="ADAL" clId="{121DDFE8-C1B3-488F-AA1B-7A2D8DFD306D}" dt="2026-01-30T01:17:22.957" v="153" actId="478"/>
          <ac:spMkLst>
            <pc:docMk/>
            <pc:sldMk cId="3919872166" sldId="2147478872"/>
            <ac:spMk id="23" creationId="{00776C18-E976-905F-D51E-41DCC73156A4}"/>
          </ac:spMkLst>
        </pc:spChg>
        <pc:spChg chg="del">
          <ac:chgData name="Marco Casiraghi" userId="34c8cd23-4fb6-4298-956c-4a0fecec7678" providerId="ADAL" clId="{121DDFE8-C1B3-488F-AA1B-7A2D8DFD306D}" dt="2026-01-30T01:17:22.957" v="153" actId="478"/>
          <ac:spMkLst>
            <pc:docMk/>
            <pc:sldMk cId="3919872166" sldId="2147478872"/>
            <ac:spMk id="38" creationId="{7B7223CD-C607-62F8-E2B7-87DA3E9B69B2}"/>
          </ac:spMkLst>
        </pc:spChg>
        <pc:spChg chg="del">
          <ac:chgData name="Marco Casiraghi" userId="34c8cd23-4fb6-4298-956c-4a0fecec7678" providerId="ADAL" clId="{121DDFE8-C1B3-488F-AA1B-7A2D8DFD306D}" dt="2026-01-30T01:17:22.957" v="153" actId="478"/>
          <ac:spMkLst>
            <pc:docMk/>
            <pc:sldMk cId="3919872166" sldId="2147478872"/>
            <ac:spMk id="52" creationId="{96CB8870-439E-382E-3BAF-88F4553A721A}"/>
          </ac:spMkLst>
        </pc:spChg>
        <pc:spChg chg="del">
          <ac:chgData name="Marco Casiraghi" userId="34c8cd23-4fb6-4298-956c-4a0fecec7678" providerId="ADAL" clId="{121DDFE8-C1B3-488F-AA1B-7A2D8DFD306D}" dt="2026-01-30T01:17:22.957" v="153" actId="478"/>
          <ac:spMkLst>
            <pc:docMk/>
            <pc:sldMk cId="3919872166" sldId="2147478872"/>
            <ac:spMk id="57" creationId="{98F0CC25-959E-7EF6-B314-8560978EDBA2}"/>
          </ac:spMkLst>
        </pc:spChg>
        <pc:spChg chg="del">
          <ac:chgData name="Marco Casiraghi" userId="34c8cd23-4fb6-4298-956c-4a0fecec7678" providerId="ADAL" clId="{121DDFE8-C1B3-488F-AA1B-7A2D8DFD306D}" dt="2026-01-30T01:17:22.957" v="153" actId="478"/>
          <ac:spMkLst>
            <pc:docMk/>
            <pc:sldMk cId="3919872166" sldId="2147478872"/>
            <ac:spMk id="65" creationId="{AA7CFA3E-819C-D6E5-1EC3-D5354FF04465}"/>
          </ac:spMkLst>
        </pc:spChg>
        <pc:spChg chg="del">
          <ac:chgData name="Marco Casiraghi" userId="34c8cd23-4fb6-4298-956c-4a0fecec7678" providerId="ADAL" clId="{121DDFE8-C1B3-488F-AA1B-7A2D8DFD306D}" dt="2026-01-30T01:17:22.957" v="153" actId="478"/>
          <ac:spMkLst>
            <pc:docMk/>
            <pc:sldMk cId="3919872166" sldId="2147478872"/>
            <ac:spMk id="68" creationId="{49C9ED60-8FB2-DE3A-B25D-ED880CCB6579}"/>
          </ac:spMkLst>
        </pc:spChg>
        <pc:spChg chg="del">
          <ac:chgData name="Marco Casiraghi" userId="34c8cd23-4fb6-4298-956c-4a0fecec7678" providerId="ADAL" clId="{121DDFE8-C1B3-488F-AA1B-7A2D8DFD306D}" dt="2026-01-30T01:17:22.957" v="153" actId="478"/>
          <ac:spMkLst>
            <pc:docMk/>
            <pc:sldMk cId="3919872166" sldId="2147478872"/>
            <ac:spMk id="71" creationId="{DA3F638F-F541-C334-CA24-72FC45F34183}"/>
          </ac:spMkLst>
        </pc:spChg>
        <pc:spChg chg="add del mod modVis">
          <ac:chgData name="Marco Casiraghi" userId="34c8cd23-4fb6-4298-956c-4a0fecec7678" providerId="ADAL" clId="{121DDFE8-C1B3-488F-AA1B-7A2D8DFD306D}" dt="2026-01-30T01:17:17.887" v="150"/>
          <ac:spMkLst>
            <pc:docMk/>
            <pc:sldMk cId="3919872166" sldId="2147478872"/>
            <ac:spMk id="76" creationId="{C23F8402-5183-1D3B-857B-6691EEB3B8B8}"/>
          </ac:spMkLst>
        </pc:spChg>
        <pc:spChg chg="del">
          <ac:chgData name="Marco Casiraghi" userId="34c8cd23-4fb6-4298-956c-4a0fecec7678" providerId="ADAL" clId="{121DDFE8-C1B3-488F-AA1B-7A2D8DFD306D}" dt="2026-01-30T01:20:00.826" v="274" actId="478"/>
          <ac:spMkLst>
            <pc:docMk/>
            <pc:sldMk cId="3919872166" sldId="2147478872"/>
            <ac:spMk id="77" creationId="{086237CD-7B72-9F98-7123-FDA8238CE723}"/>
          </ac:spMkLst>
        </pc:spChg>
        <pc:spChg chg="add mod">
          <ac:chgData name="Marco Casiraghi" userId="34c8cd23-4fb6-4298-956c-4a0fecec7678" providerId="ADAL" clId="{121DDFE8-C1B3-488F-AA1B-7A2D8DFD306D}" dt="2026-01-30T01:17:38.251" v="155"/>
          <ac:spMkLst>
            <pc:docMk/>
            <pc:sldMk cId="3919872166" sldId="2147478872"/>
            <ac:spMk id="78" creationId="{EEF4207F-EF19-F418-9AD6-5DFD392C3F79}"/>
          </ac:spMkLst>
        </pc:spChg>
        <pc:spChg chg="add mod">
          <ac:chgData name="Marco Casiraghi" userId="34c8cd23-4fb6-4298-956c-4a0fecec7678" providerId="ADAL" clId="{121DDFE8-C1B3-488F-AA1B-7A2D8DFD306D}" dt="2026-01-30T01:17:38.251" v="155"/>
          <ac:spMkLst>
            <pc:docMk/>
            <pc:sldMk cId="3919872166" sldId="2147478872"/>
            <ac:spMk id="86" creationId="{B9EDF85F-8F35-1155-A5A4-D7CF78E043F5}"/>
          </ac:spMkLst>
        </pc:spChg>
        <pc:spChg chg="add mod">
          <ac:chgData name="Marco Casiraghi" userId="34c8cd23-4fb6-4298-956c-4a0fecec7678" providerId="ADAL" clId="{121DDFE8-C1B3-488F-AA1B-7A2D8DFD306D}" dt="2026-01-30T01:17:38.251" v="155"/>
          <ac:spMkLst>
            <pc:docMk/>
            <pc:sldMk cId="3919872166" sldId="2147478872"/>
            <ac:spMk id="89" creationId="{27A3461B-1B7B-4AAD-8426-E6919E65C5B8}"/>
          </ac:spMkLst>
        </pc:spChg>
        <pc:spChg chg="add mod">
          <ac:chgData name="Marco Casiraghi" userId="34c8cd23-4fb6-4298-956c-4a0fecec7678" providerId="ADAL" clId="{121DDFE8-C1B3-488F-AA1B-7A2D8DFD306D}" dt="2026-01-30T01:17:38.251" v="155"/>
          <ac:spMkLst>
            <pc:docMk/>
            <pc:sldMk cId="3919872166" sldId="2147478872"/>
            <ac:spMk id="94" creationId="{04680FFE-B87A-1788-60F2-B005E1BEC60E}"/>
          </ac:spMkLst>
        </pc:spChg>
        <pc:spChg chg="add mod">
          <ac:chgData name="Marco Casiraghi" userId="34c8cd23-4fb6-4298-956c-4a0fecec7678" providerId="ADAL" clId="{121DDFE8-C1B3-488F-AA1B-7A2D8DFD306D}" dt="2026-01-30T01:17:38.251" v="155"/>
          <ac:spMkLst>
            <pc:docMk/>
            <pc:sldMk cId="3919872166" sldId="2147478872"/>
            <ac:spMk id="103" creationId="{64FE91B8-0EE0-D4E0-A22D-0DEF0CCE563A}"/>
          </ac:spMkLst>
        </pc:spChg>
        <pc:spChg chg="add mod">
          <ac:chgData name="Marco Casiraghi" userId="34c8cd23-4fb6-4298-956c-4a0fecec7678" providerId="ADAL" clId="{121DDFE8-C1B3-488F-AA1B-7A2D8DFD306D}" dt="2026-01-30T01:17:38.251" v="155"/>
          <ac:spMkLst>
            <pc:docMk/>
            <pc:sldMk cId="3919872166" sldId="2147478872"/>
            <ac:spMk id="133" creationId="{E2405651-52E5-1B59-0D53-0190E29A2A49}"/>
          </ac:spMkLst>
        </pc:spChg>
        <pc:spChg chg="add mod">
          <ac:chgData name="Marco Casiraghi" userId="34c8cd23-4fb6-4298-956c-4a0fecec7678" providerId="ADAL" clId="{121DDFE8-C1B3-488F-AA1B-7A2D8DFD306D}" dt="2026-01-30T01:17:38.251" v="155"/>
          <ac:spMkLst>
            <pc:docMk/>
            <pc:sldMk cId="3919872166" sldId="2147478872"/>
            <ac:spMk id="142" creationId="{29422F88-72DF-56C4-8820-156B576C830F}"/>
          </ac:spMkLst>
        </pc:spChg>
        <pc:spChg chg="add mod">
          <ac:chgData name="Marco Casiraghi" userId="34c8cd23-4fb6-4298-956c-4a0fecec7678" providerId="ADAL" clId="{121DDFE8-C1B3-488F-AA1B-7A2D8DFD306D}" dt="2026-01-30T01:17:38.251" v="155"/>
          <ac:spMkLst>
            <pc:docMk/>
            <pc:sldMk cId="3919872166" sldId="2147478872"/>
            <ac:spMk id="150" creationId="{42E6C747-6327-C5EB-C872-E042BE5228C2}"/>
          </ac:spMkLst>
        </pc:spChg>
        <pc:spChg chg="add mod">
          <ac:chgData name="Marco Casiraghi" userId="34c8cd23-4fb6-4298-956c-4a0fecec7678" providerId="ADAL" clId="{121DDFE8-C1B3-488F-AA1B-7A2D8DFD306D}" dt="2026-01-30T01:17:38.251" v="155"/>
          <ac:spMkLst>
            <pc:docMk/>
            <pc:sldMk cId="3919872166" sldId="2147478872"/>
            <ac:spMk id="166" creationId="{EC6A9F1B-285E-5F28-915F-C341E1936F03}"/>
          </ac:spMkLst>
        </pc:spChg>
        <pc:spChg chg="add mod">
          <ac:chgData name="Marco Casiraghi" userId="34c8cd23-4fb6-4298-956c-4a0fecec7678" providerId="ADAL" clId="{121DDFE8-C1B3-488F-AA1B-7A2D8DFD306D}" dt="2026-01-30T01:17:38.251" v="155"/>
          <ac:spMkLst>
            <pc:docMk/>
            <pc:sldMk cId="3919872166" sldId="2147478872"/>
            <ac:spMk id="174" creationId="{40E7046C-1A20-3C3B-8643-E635717E84ED}"/>
          </ac:spMkLst>
        </pc:spChg>
        <pc:spChg chg="add del mod">
          <ac:chgData name="Marco Casiraghi" userId="34c8cd23-4fb6-4298-956c-4a0fecec7678" providerId="ADAL" clId="{121DDFE8-C1B3-488F-AA1B-7A2D8DFD306D}" dt="2026-01-30T01:21:55.681" v="445" actId="478"/>
          <ac:spMkLst>
            <pc:docMk/>
            <pc:sldMk cId="3919872166" sldId="2147478872"/>
            <ac:spMk id="191" creationId="{6E402F15-FE8D-13BD-F331-A226E090AD92}"/>
          </ac:spMkLst>
        </pc:spChg>
        <pc:spChg chg="add mod">
          <ac:chgData name="Marco Casiraghi" userId="34c8cd23-4fb6-4298-956c-4a0fecec7678" providerId="ADAL" clId="{121DDFE8-C1B3-488F-AA1B-7A2D8DFD306D}" dt="2026-01-30T01:21:58.075" v="474" actId="948"/>
          <ac:spMkLst>
            <pc:docMk/>
            <pc:sldMk cId="3919872166" sldId="2147478872"/>
            <ac:spMk id="192" creationId="{B03030B4-D464-EC2B-7D68-2654295F7F9C}"/>
          </ac:spMkLst>
        </pc:spChg>
        <pc:spChg chg="add del mod modVis">
          <ac:chgData name="Marco Casiraghi" userId="34c8cd23-4fb6-4298-956c-4a0fecec7678" providerId="ADAL" clId="{121DDFE8-C1B3-488F-AA1B-7A2D8DFD306D}" dt="2026-01-30T01:21:56.223" v="469"/>
          <ac:spMkLst>
            <pc:docMk/>
            <pc:sldMk cId="3919872166" sldId="2147478872"/>
            <ac:spMk id="194" creationId="{CE75EFF9-AA8B-1824-00E4-27E123ED1779}"/>
          </ac:spMkLst>
        </pc:spChg>
        <pc:spChg chg="add del mod modVis">
          <ac:chgData name="Marco Casiraghi" userId="34c8cd23-4fb6-4298-956c-4a0fecec7678" providerId="ADAL" clId="{121DDFE8-C1B3-488F-AA1B-7A2D8DFD306D}" dt="2026-01-30T01:21:58.108" v="496"/>
          <ac:spMkLst>
            <pc:docMk/>
            <pc:sldMk cId="3919872166" sldId="2147478872"/>
            <ac:spMk id="195" creationId="{18577B5C-117A-4AA8-0751-206DC62310D0}"/>
          </ac:spMkLst>
        </pc:spChg>
        <pc:graphicFrameChg chg="mod">
          <ac:chgData name="Marco Casiraghi" userId="34c8cd23-4fb6-4298-956c-4a0fecec7678" providerId="ADAL" clId="{121DDFE8-C1B3-488F-AA1B-7A2D8DFD306D}" dt="2026-01-30T01:21:58.109" v="498"/>
          <ac:graphicFrameMkLst>
            <pc:docMk/>
            <pc:sldMk cId="3919872166" sldId="2147478872"/>
            <ac:graphicFrameMk id="212" creationId="{CBA4D2A7-D6F7-8AC5-C5DE-5F5B4121D48F}"/>
          </ac:graphicFrameMkLst>
        </pc:graphicFrameChg>
        <pc:cxnChg chg="add mod">
          <ac:chgData name="Marco Casiraghi" userId="34c8cd23-4fb6-4298-956c-4a0fecec7678" providerId="ADAL" clId="{121DDFE8-C1B3-488F-AA1B-7A2D8DFD306D}" dt="2026-01-30T01:17:45.357" v="156"/>
          <ac:cxnSpMkLst>
            <pc:docMk/>
            <pc:sldMk cId="3919872166" sldId="2147478872"/>
            <ac:cxnSpMk id="177" creationId="{16451305-8FE1-E839-7BE6-A0E39A55A8BE}"/>
          </ac:cxnSpMkLst>
        </pc:cxnChg>
        <pc:cxnChg chg="add mod">
          <ac:chgData name="Marco Casiraghi" userId="34c8cd23-4fb6-4298-956c-4a0fecec7678" providerId="ADAL" clId="{121DDFE8-C1B3-488F-AA1B-7A2D8DFD306D}" dt="2026-01-30T01:17:45.357" v="156"/>
          <ac:cxnSpMkLst>
            <pc:docMk/>
            <pc:sldMk cId="3919872166" sldId="2147478872"/>
            <ac:cxnSpMk id="178" creationId="{FCBAB810-C0FB-8AB1-70C4-86E9E21FC6B3}"/>
          </ac:cxnSpMkLst>
        </pc:cxnChg>
        <pc:cxnChg chg="add mod">
          <ac:chgData name="Marco Casiraghi" userId="34c8cd23-4fb6-4298-956c-4a0fecec7678" providerId="ADAL" clId="{121DDFE8-C1B3-488F-AA1B-7A2D8DFD306D}" dt="2026-01-30T01:17:45.357" v="156"/>
          <ac:cxnSpMkLst>
            <pc:docMk/>
            <pc:sldMk cId="3919872166" sldId="2147478872"/>
            <ac:cxnSpMk id="179" creationId="{27443A98-540D-E5FA-2166-FE0A85891EC1}"/>
          </ac:cxnSpMkLst>
        </pc:cxnChg>
        <pc:cxnChg chg="add mod">
          <ac:chgData name="Marco Casiraghi" userId="34c8cd23-4fb6-4298-956c-4a0fecec7678" providerId="ADAL" clId="{121DDFE8-C1B3-488F-AA1B-7A2D8DFD306D}" dt="2026-01-30T01:17:45.357" v="156"/>
          <ac:cxnSpMkLst>
            <pc:docMk/>
            <pc:sldMk cId="3919872166" sldId="2147478872"/>
            <ac:cxnSpMk id="180" creationId="{44288927-7928-8538-AF5C-BB00E2237770}"/>
          </ac:cxnSpMkLst>
        </pc:cxnChg>
        <pc:cxnChg chg="add mod">
          <ac:chgData name="Marco Casiraghi" userId="34c8cd23-4fb6-4298-956c-4a0fecec7678" providerId="ADAL" clId="{121DDFE8-C1B3-488F-AA1B-7A2D8DFD306D}" dt="2026-01-30T01:17:45.357" v="156"/>
          <ac:cxnSpMkLst>
            <pc:docMk/>
            <pc:sldMk cId="3919872166" sldId="2147478872"/>
            <ac:cxnSpMk id="181" creationId="{0722CD50-C124-26A0-58E5-93283E164001}"/>
          </ac:cxnSpMkLst>
        </pc:cxnChg>
        <pc:cxnChg chg="add mod">
          <ac:chgData name="Marco Casiraghi" userId="34c8cd23-4fb6-4298-956c-4a0fecec7678" providerId="ADAL" clId="{121DDFE8-C1B3-488F-AA1B-7A2D8DFD306D}" dt="2026-01-30T01:17:45.357" v="156"/>
          <ac:cxnSpMkLst>
            <pc:docMk/>
            <pc:sldMk cId="3919872166" sldId="2147478872"/>
            <ac:cxnSpMk id="183" creationId="{7CCF0229-02DB-05B1-9124-7EFA2C95197A}"/>
          </ac:cxnSpMkLst>
        </pc:cxnChg>
        <pc:cxnChg chg="add mod">
          <ac:chgData name="Marco Casiraghi" userId="34c8cd23-4fb6-4298-956c-4a0fecec7678" providerId="ADAL" clId="{121DDFE8-C1B3-488F-AA1B-7A2D8DFD306D}" dt="2026-01-30T01:17:45.357" v="156"/>
          <ac:cxnSpMkLst>
            <pc:docMk/>
            <pc:sldMk cId="3919872166" sldId="2147478872"/>
            <ac:cxnSpMk id="184" creationId="{69C8ABB3-26FB-12D0-F0A8-275063BB1DD7}"/>
          </ac:cxnSpMkLst>
        </pc:cxnChg>
        <pc:cxnChg chg="add mod">
          <ac:chgData name="Marco Casiraghi" userId="34c8cd23-4fb6-4298-956c-4a0fecec7678" providerId="ADAL" clId="{121DDFE8-C1B3-488F-AA1B-7A2D8DFD306D}" dt="2026-01-30T01:17:45.357" v="156"/>
          <ac:cxnSpMkLst>
            <pc:docMk/>
            <pc:sldMk cId="3919872166" sldId="2147478872"/>
            <ac:cxnSpMk id="185" creationId="{94F553E4-1154-A225-DD94-54D55986009F}"/>
          </ac:cxnSpMkLst>
        </pc:cxnChg>
        <pc:cxnChg chg="add mod">
          <ac:chgData name="Marco Casiraghi" userId="34c8cd23-4fb6-4298-956c-4a0fecec7678" providerId="ADAL" clId="{121DDFE8-C1B3-488F-AA1B-7A2D8DFD306D}" dt="2026-01-30T01:17:45.357" v="156"/>
          <ac:cxnSpMkLst>
            <pc:docMk/>
            <pc:sldMk cId="3919872166" sldId="2147478872"/>
            <ac:cxnSpMk id="188" creationId="{DEAD24B6-A70E-D759-8F2C-5A584CFB56B2}"/>
          </ac:cxnSpMkLst>
        </pc:cxnChg>
        <pc:cxnChg chg="add mod">
          <ac:chgData name="Marco Casiraghi" userId="34c8cd23-4fb6-4298-956c-4a0fecec7678" providerId="ADAL" clId="{121DDFE8-C1B3-488F-AA1B-7A2D8DFD306D}" dt="2026-01-30T01:17:45.357" v="156"/>
          <ac:cxnSpMkLst>
            <pc:docMk/>
            <pc:sldMk cId="3919872166" sldId="2147478872"/>
            <ac:cxnSpMk id="189" creationId="{3CD0B6D9-E78D-97A1-2172-44C5D56921BF}"/>
          </ac:cxnSpMkLst>
        </pc:cxnChg>
      </pc:sldChg>
      <pc:sldChg chg="addSp delSp modSp add mod">
        <pc:chgData name="Marco Casiraghi" userId="34c8cd23-4fb6-4298-956c-4a0fecec7678" providerId="ADAL" clId="{121DDFE8-C1B3-488F-AA1B-7A2D8DFD306D}" dt="2026-01-30T01:37:30.032" v="2334"/>
        <pc:sldMkLst>
          <pc:docMk/>
          <pc:sldMk cId="2187746652" sldId="2147478873"/>
        </pc:sldMkLst>
        <pc:spChg chg="add del mod modVis">
          <ac:chgData name="Marco Casiraghi" userId="34c8cd23-4fb6-4298-956c-4a0fecec7678" providerId="ADAL" clId="{121DDFE8-C1B3-488F-AA1B-7A2D8DFD306D}" dt="2026-01-30T01:22:57.191" v="525"/>
          <ac:spMkLst>
            <pc:docMk/>
            <pc:sldMk cId="2187746652" sldId="2147478873"/>
            <ac:spMk id="2" creationId="{76028522-1AA6-16ED-9AA9-E8B2778E6406}"/>
          </ac:spMkLst>
        </pc:spChg>
        <pc:spChg chg="add del mod modVis">
          <ac:chgData name="Marco Casiraghi" userId="34c8cd23-4fb6-4298-956c-4a0fecec7678" providerId="ADAL" clId="{121DDFE8-C1B3-488F-AA1B-7A2D8DFD306D}" dt="2026-01-30T01:24:27.907" v="1089" actId="962"/>
          <ac:spMkLst>
            <pc:docMk/>
            <pc:sldMk cId="2187746652" sldId="2147478873"/>
            <ac:spMk id="3" creationId="{11A469CA-5A40-5CF1-D282-021850CA76AD}"/>
          </ac:spMkLst>
        </pc:spChg>
        <pc:spChg chg="add del mod modVis">
          <ac:chgData name="Marco Casiraghi" userId="34c8cd23-4fb6-4298-956c-4a0fecec7678" providerId="ADAL" clId="{121DDFE8-C1B3-488F-AA1B-7A2D8DFD306D}" dt="2026-01-30T01:24:40.133" v="1587" actId="962"/>
          <ac:spMkLst>
            <pc:docMk/>
            <pc:sldMk cId="2187746652" sldId="2147478873"/>
            <ac:spMk id="4" creationId="{0CBB7A52-7656-230D-9EF2-15AD398120B0}"/>
          </ac:spMkLst>
        </pc:spChg>
        <pc:spChg chg="add del mod modVis">
          <ac:chgData name="Marco Casiraghi" userId="34c8cd23-4fb6-4298-956c-4a0fecec7678" providerId="ADAL" clId="{121DDFE8-C1B3-488F-AA1B-7A2D8DFD306D}" dt="2026-01-30T01:24:43.437" v="1912"/>
          <ac:spMkLst>
            <pc:docMk/>
            <pc:sldMk cId="2187746652" sldId="2147478873"/>
            <ac:spMk id="5" creationId="{B0E0F7B3-3B4E-45AF-7078-A0D7470DE63A}"/>
          </ac:spMkLst>
        </pc:spChg>
        <pc:spChg chg="mod">
          <ac:chgData name="Marco Casiraghi" userId="34c8cd23-4fb6-4298-956c-4a0fecec7678" providerId="ADAL" clId="{121DDFE8-C1B3-488F-AA1B-7A2D8DFD306D}" dt="2026-01-30T01:24:43.234" v="1741" actId="20577"/>
          <ac:spMkLst>
            <pc:docMk/>
            <pc:sldMk cId="2187746652" sldId="2147478873"/>
            <ac:spMk id="77" creationId="{97652C69-1519-B23A-2572-73B379E0B640}"/>
          </ac:spMkLst>
        </pc:spChg>
        <pc:spChg chg="mod">
          <ac:chgData name="Marco Casiraghi" userId="34c8cd23-4fb6-4298-956c-4a0fecec7678" providerId="ADAL" clId="{121DDFE8-C1B3-488F-AA1B-7A2D8DFD306D}" dt="2026-01-30T01:24:43.238" v="1743" actId="20577"/>
          <ac:spMkLst>
            <pc:docMk/>
            <pc:sldMk cId="2187746652" sldId="2147478873"/>
            <ac:spMk id="78" creationId="{F6BEF74C-2AD6-F603-0489-A11C6218A868}"/>
          </ac:spMkLst>
        </pc:spChg>
        <pc:spChg chg="mod">
          <ac:chgData name="Marco Casiraghi" userId="34c8cd23-4fb6-4298-956c-4a0fecec7678" providerId="ADAL" clId="{121DDFE8-C1B3-488F-AA1B-7A2D8DFD306D}" dt="2026-01-30T01:24:43.248" v="1751" actId="20577"/>
          <ac:spMkLst>
            <pc:docMk/>
            <pc:sldMk cId="2187746652" sldId="2147478873"/>
            <ac:spMk id="79" creationId="{A8634B41-D5F6-A9D8-3FF9-8299AAFDE2A3}"/>
          </ac:spMkLst>
        </pc:spChg>
        <pc:spChg chg="mod">
          <ac:chgData name="Marco Casiraghi" userId="34c8cd23-4fb6-4298-956c-4a0fecec7678" providerId="ADAL" clId="{121DDFE8-C1B3-488F-AA1B-7A2D8DFD306D}" dt="2026-01-30T01:24:43.250" v="1753" actId="20577"/>
          <ac:spMkLst>
            <pc:docMk/>
            <pc:sldMk cId="2187746652" sldId="2147478873"/>
            <ac:spMk id="80" creationId="{AAA68544-77CD-502B-3EB6-782F408A1FFA}"/>
          </ac:spMkLst>
        </pc:spChg>
        <pc:spChg chg="mod">
          <ac:chgData name="Marco Casiraghi" userId="34c8cd23-4fb6-4298-956c-4a0fecec7678" providerId="ADAL" clId="{121DDFE8-C1B3-488F-AA1B-7A2D8DFD306D}" dt="2026-01-30T01:24:43.258" v="1761" actId="20577"/>
          <ac:spMkLst>
            <pc:docMk/>
            <pc:sldMk cId="2187746652" sldId="2147478873"/>
            <ac:spMk id="81" creationId="{D4285F3B-DBB3-6210-69E8-EA5D4A9D6049}"/>
          </ac:spMkLst>
        </pc:spChg>
        <pc:spChg chg="mod">
          <ac:chgData name="Marco Casiraghi" userId="34c8cd23-4fb6-4298-956c-4a0fecec7678" providerId="ADAL" clId="{121DDFE8-C1B3-488F-AA1B-7A2D8DFD306D}" dt="2026-01-30T01:24:43.259" v="1763" actId="20577"/>
          <ac:spMkLst>
            <pc:docMk/>
            <pc:sldMk cId="2187746652" sldId="2147478873"/>
            <ac:spMk id="82" creationId="{D2BA6C2A-4BAD-21C7-A713-E1BA24822ECE}"/>
          </ac:spMkLst>
        </pc:spChg>
        <pc:spChg chg="mod">
          <ac:chgData name="Marco Casiraghi" userId="34c8cd23-4fb6-4298-956c-4a0fecec7678" providerId="ADAL" clId="{121DDFE8-C1B3-488F-AA1B-7A2D8DFD306D}" dt="2026-01-30T01:24:43.267" v="1771" actId="20577"/>
          <ac:spMkLst>
            <pc:docMk/>
            <pc:sldMk cId="2187746652" sldId="2147478873"/>
            <ac:spMk id="83" creationId="{44DB82CB-ABAA-A309-387D-AEAF781D68A8}"/>
          </ac:spMkLst>
        </pc:spChg>
        <pc:spChg chg="mod">
          <ac:chgData name="Marco Casiraghi" userId="34c8cd23-4fb6-4298-956c-4a0fecec7678" providerId="ADAL" clId="{121DDFE8-C1B3-488F-AA1B-7A2D8DFD306D}" dt="2026-01-30T01:24:43.268" v="1773" actId="20577"/>
          <ac:spMkLst>
            <pc:docMk/>
            <pc:sldMk cId="2187746652" sldId="2147478873"/>
            <ac:spMk id="84" creationId="{9A9248B2-7FDB-3244-37E0-E9336368E015}"/>
          </ac:spMkLst>
        </pc:spChg>
        <pc:spChg chg="mod">
          <ac:chgData name="Marco Casiraghi" userId="34c8cd23-4fb6-4298-956c-4a0fecec7678" providerId="ADAL" clId="{121DDFE8-C1B3-488F-AA1B-7A2D8DFD306D}" dt="2026-01-30T01:24:43.278" v="1781" actId="20577"/>
          <ac:spMkLst>
            <pc:docMk/>
            <pc:sldMk cId="2187746652" sldId="2147478873"/>
            <ac:spMk id="85" creationId="{FC6F50C2-245F-8BA5-9CA0-B310F5F9FDE6}"/>
          </ac:spMkLst>
        </pc:spChg>
        <pc:spChg chg="mod">
          <ac:chgData name="Marco Casiraghi" userId="34c8cd23-4fb6-4298-956c-4a0fecec7678" providerId="ADAL" clId="{121DDFE8-C1B3-488F-AA1B-7A2D8DFD306D}" dt="2026-01-30T01:24:43.280" v="1783" actId="20577"/>
          <ac:spMkLst>
            <pc:docMk/>
            <pc:sldMk cId="2187746652" sldId="2147478873"/>
            <ac:spMk id="86" creationId="{673C70F0-7A90-420A-CDBE-22785DBC7B29}"/>
          </ac:spMkLst>
        </pc:spChg>
        <pc:spChg chg="mod">
          <ac:chgData name="Marco Casiraghi" userId="34c8cd23-4fb6-4298-956c-4a0fecec7678" providerId="ADAL" clId="{121DDFE8-C1B3-488F-AA1B-7A2D8DFD306D}" dt="2026-01-30T01:24:43.287" v="1791" actId="20577"/>
          <ac:spMkLst>
            <pc:docMk/>
            <pc:sldMk cId="2187746652" sldId="2147478873"/>
            <ac:spMk id="87" creationId="{4D9C5EC9-8787-AB8E-EC07-047FDAA4E01D}"/>
          </ac:spMkLst>
        </pc:spChg>
        <pc:spChg chg="mod">
          <ac:chgData name="Marco Casiraghi" userId="34c8cd23-4fb6-4298-956c-4a0fecec7678" providerId="ADAL" clId="{121DDFE8-C1B3-488F-AA1B-7A2D8DFD306D}" dt="2026-01-30T01:24:43.289" v="1793" actId="20577"/>
          <ac:spMkLst>
            <pc:docMk/>
            <pc:sldMk cId="2187746652" sldId="2147478873"/>
            <ac:spMk id="88" creationId="{E5080E82-FA41-A1FA-7AC0-03FC039D30B0}"/>
          </ac:spMkLst>
        </pc:spChg>
        <pc:spChg chg="mod">
          <ac:chgData name="Marco Casiraghi" userId="34c8cd23-4fb6-4298-956c-4a0fecec7678" providerId="ADAL" clId="{121DDFE8-C1B3-488F-AA1B-7A2D8DFD306D}" dt="2026-01-30T01:24:43.297" v="1801" actId="20577"/>
          <ac:spMkLst>
            <pc:docMk/>
            <pc:sldMk cId="2187746652" sldId="2147478873"/>
            <ac:spMk id="89" creationId="{B7AA05D0-0D72-4388-A014-8B797C73BCD1}"/>
          </ac:spMkLst>
        </pc:spChg>
        <pc:spChg chg="mod">
          <ac:chgData name="Marco Casiraghi" userId="34c8cd23-4fb6-4298-956c-4a0fecec7678" providerId="ADAL" clId="{121DDFE8-C1B3-488F-AA1B-7A2D8DFD306D}" dt="2026-01-30T01:24:43.298" v="1803" actId="20577"/>
          <ac:spMkLst>
            <pc:docMk/>
            <pc:sldMk cId="2187746652" sldId="2147478873"/>
            <ac:spMk id="90" creationId="{76CDBE0C-314C-B790-A480-00E438017D45}"/>
          </ac:spMkLst>
        </pc:spChg>
        <pc:spChg chg="mod">
          <ac:chgData name="Marco Casiraghi" userId="34c8cd23-4fb6-4298-956c-4a0fecec7678" providerId="ADAL" clId="{121DDFE8-C1B3-488F-AA1B-7A2D8DFD306D}" dt="2026-01-30T01:24:43.386" v="1881" actId="20577"/>
          <ac:spMkLst>
            <pc:docMk/>
            <pc:sldMk cId="2187746652" sldId="2147478873"/>
            <ac:spMk id="91" creationId="{2D074E24-229D-A871-F871-13047D82E459}"/>
          </ac:spMkLst>
        </pc:spChg>
        <pc:spChg chg="mod">
          <ac:chgData name="Marco Casiraghi" userId="34c8cd23-4fb6-4298-956c-4a0fecec7678" providerId="ADAL" clId="{121DDFE8-C1B3-488F-AA1B-7A2D8DFD306D}" dt="2026-01-30T01:24:43.388" v="1883" actId="20577"/>
          <ac:spMkLst>
            <pc:docMk/>
            <pc:sldMk cId="2187746652" sldId="2147478873"/>
            <ac:spMk id="92" creationId="{712A967B-F073-976F-809B-3726861E2211}"/>
          </ac:spMkLst>
        </pc:spChg>
        <pc:spChg chg="mod">
          <ac:chgData name="Marco Casiraghi" userId="34c8cd23-4fb6-4298-956c-4a0fecec7678" providerId="ADAL" clId="{121DDFE8-C1B3-488F-AA1B-7A2D8DFD306D}" dt="2026-01-30T01:24:43.374" v="1871" actId="20577"/>
          <ac:spMkLst>
            <pc:docMk/>
            <pc:sldMk cId="2187746652" sldId="2147478873"/>
            <ac:spMk id="93" creationId="{E7C43701-7AD5-0538-8D40-49745740C7E6}"/>
          </ac:spMkLst>
        </pc:spChg>
        <pc:spChg chg="mod">
          <ac:chgData name="Marco Casiraghi" userId="34c8cd23-4fb6-4298-956c-4a0fecec7678" providerId="ADAL" clId="{121DDFE8-C1B3-488F-AA1B-7A2D8DFD306D}" dt="2026-01-30T01:24:43.375" v="1873" actId="20577"/>
          <ac:spMkLst>
            <pc:docMk/>
            <pc:sldMk cId="2187746652" sldId="2147478873"/>
            <ac:spMk id="94" creationId="{F87BC2C5-8D58-341E-5A38-7E2195CF92B8}"/>
          </ac:spMkLst>
        </pc:spChg>
        <pc:spChg chg="mod">
          <ac:chgData name="Marco Casiraghi" userId="34c8cd23-4fb6-4298-956c-4a0fecec7678" providerId="ADAL" clId="{121DDFE8-C1B3-488F-AA1B-7A2D8DFD306D}" dt="2026-01-30T01:24:43.363" v="1861" actId="20577"/>
          <ac:spMkLst>
            <pc:docMk/>
            <pc:sldMk cId="2187746652" sldId="2147478873"/>
            <ac:spMk id="95" creationId="{EECB5BC5-FFA0-1CDE-8140-27F21B1BB137}"/>
          </ac:spMkLst>
        </pc:spChg>
        <pc:spChg chg="mod">
          <ac:chgData name="Marco Casiraghi" userId="34c8cd23-4fb6-4298-956c-4a0fecec7678" providerId="ADAL" clId="{121DDFE8-C1B3-488F-AA1B-7A2D8DFD306D}" dt="2026-01-30T01:24:43.366" v="1863" actId="20577"/>
          <ac:spMkLst>
            <pc:docMk/>
            <pc:sldMk cId="2187746652" sldId="2147478873"/>
            <ac:spMk id="96" creationId="{EACB6BF8-5E4E-E62C-022B-D8EC9D904291}"/>
          </ac:spMkLst>
        </pc:spChg>
        <pc:spChg chg="mod">
          <ac:chgData name="Marco Casiraghi" userId="34c8cd23-4fb6-4298-956c-4a0fecec7678" providerId="ADAL" clId="{121DDFE8-C1B3-488F-AA1B-7A2D8DFD306D}" dt="2026-01-30T01:24:43.350" v="1851" actId="20577"/>
          <ac:spMkLst>
            <pc:docMk/>
            <pc:sldMk cId="2187746652" sldId="2147478873"/>
            <ac:spMk id="97" creationId="{061E2CB2-4EA5-80FD-1DAC-E0BBCAA17EDC}"/>
          </ac:spMkLst>
        </pc:spChg>
        <pc:spChg chg="mod">
          <ac:chgData name="Marco Casiraghi" userId="34c8cd23-4fb6-4298-956c-4a0fecec7678" providerId="ADAL" clId="{121DDFE8-C1B3-488F-AA1B-7A2D8DFD306D}" dt="2026-01-30T01:24:43.353" v="1853" actId="20577"/>
          <ac:spMkLst>
            <pc:docMk/>
            <pc:sldMk cId="2187746652" sldId="2147478873"/>
            <ac:spMk id="98" creationId="{837E4534-5DA4-F462-A99B-DF1398B19125}"/>
          </ac:spMkLst>
        </pc:spChg>
        <pc:spChg chg="mod">
          <ac:chgData name="Marco Casiraghi" userId="34c8cd23-4fb6-4298-956c-4a0fecec7678" providerId="ADAL" clId="{121DDFE8-C1B3-488F-AA1B-7A2D8DFD306D}" dt="2026-01-30T01:24:43.335" v="1841" actId="20577"/>
          <ac:spMkLst>
            <pc:docMk/>
            <pc:sldMk cId="2187746652" sldId="2147478873"/>
            <ac:spMk id="99" creationId="{878421D4-7F9A-F391-76F2-3C5530F427A4}"/>
          </ac:spMkLst>
        </pc:spChg>
        <pc:spChg chg="mod">
          <ac:chgData name="Marco Casiraghi" userId="34c8cd23-4fb6-4298-956c-4a0fecec7678" providerId="ADAL" clId="{121DDFE8-C1B3-488F-AA1B-7A2D8DFD306D}" dt="2026-01-30T01:24:43.337" v="1843" actId="20577"/>
          <ac:spMkLst>
            <pc:docMk/>
            <pc:sldMk cId="2187746652" sldId="2147478873"/>
            <ac:spMk id="100" creationId="{21F870AC-42E1-B714-2769-060F6299C7CB}"/>
          </ac:spMkLst>
        </pc:spChg>
        <pc:spChg chg="mod">
          <ac:chgData name="Marco Casiraghi" userId="34c8cd23-4fb6-4298-956c-4a0fecec7678" providerId="ADAL" clId="{121DDFE8-C1B3-488F-AA1B-7A2D8DFD306D}" dt="2026-01-30T01:24:43.325" v="1831" actId="20577"/>
          <ac:spMkLst>
            <pc:docMk/>
            <pc:sldMk cId="2187746652" sldId="2147478873"/>
            <ac:spMk id="101" creationId="{D78270E1-18E5-FC1C-5461-6B65DC698B68}"/>
          </ac:spMkLst>
        </pc:spChg>
        <pc:spChg chg="mod">
          <ac:chgData name="Marco Casiraghi" userId="34c8cd23-4fb6-4298-956c-4a0fecec7678" providerId="ADAL" clId="{121DDFE8-C1B3-488F-AA1B-7A2D8DFD306D}" dt="2026-01-30T01:24:43.327" v="1833" actId="20577"/>
          <ac:spMkLst>
            <pc:docMk/>
            <pc:sldMk cId="2187746652" sldId="2147478873"/>
            <ac:spMk id="102" creationId="{E296F898-7909-D571-F4D5-E2376A8B7107}"/>
          </ac:spMkLst>
        </pc:spChg>
        <pc:spChg chg="mod">
          <ac:chgData name="Marco Casiraghi" userId="34c8cd23-4fb6-4298-956c-4a0fecec7678" providerId="ADAL" clId="{121DDFE8-C1B3-488F-AA1B-7A2D8DFD306D}" dt="2026-01-30T01:24:43.316" v="1821" actId="20577"/>
          <ac:spMkLst>
            <pc:docMk/>
            <pc:sldMk cId="2187746652" sldId="2147478873"/>
            <ac:spMk id="103" creationId="{E6F00D2D-77FA-FF1D-5F07-81E163091A58}"/>
          </ac:spMkLst>
        </pc:spChg>
        <pc:spChg chg="mod">
          <ac:chgData name="Marco Casiraghi" userId="34c8cd23-4fb6-4298-956c-4a0fecec7678" providerId="ADAL" clId="{121DDFE8-C1B3-488F-AA1B-7A2D8DFD306D}" dt="2026-01-30T01:24:43.318" v="1823" actId="20577"/>
          <ac:spMkLst>
            <pc:docMk/>
            <pc:sldMk cId="2187746652" sldId="2147478873"/>
            <ac:spMk id="104" creationId="{1C4461D3-BC7A-9AA2-1821-E9964A3278B8}"/>
          </ac:spMkLst>
        </pc:spChg>
        <pc:spChg chg="mod">
          <ac:chgData name="Marco Casiraghi" userId="34c8cd23-4fb6-4298-956c-4a0fecec7678" providerId="ADAL" clId="{121DDFE8-C1B3-488F-AA1B-7A2D8DFD306D}" dt="2026-01-30T01:24:43.306" v="1811" actId="20577"/>
          <ac:spMkLst>
            <pc:docMk/>
            <pc:sldMk cId="2187746652" sldId="2147478873"/>
            <ac:spMk id="105" creationId="{6578ACF2-313B-2EBA-767F-5FBE03FAFA47}"/>
          </ac:spMkLst>
        </pc:spChg>
        <pc:spChg chg="mod">
          <ac:chgData name="Marco Casiraghi" userId="34c8cd23-4fb6-4298-956c-4a0fecec7678" providerId="ADAL" clId="{121DDFE8-C1B3-488F-AA1B-7A2D8DFD306D}" dt="2026-01-30T01:24:43.309" v="1813" actId="20577"/>
          <ac:spMkLst>
            <pc:docMk/>
            <pc:sldMk cId="2187746652" sldId="2147478873"/>
            <ac:spMk id="106" creationId="{B7F9E3ED-AAAF-7D7A-22F8-C6C00472B071}"/>
          </ac:spMkLst>
        </pc:spChg>
        <pc:spChg chg="mod">
          <ac:chgData name="Marco Casiraghi" userId="34c8cd23-4fb6-4298-956c-4a0fecec7678" providerId="ADAL" clId="{121DDFE8-C1B3-488F-AA1B-7A2D8DFD306D}" dt="2026-01-30T01:24:43.243" v="1747" actId="20577"/>
          <ac:spMkLst>
            <pc:docMk/>
            <pc:sldMk cId="2187746652" sldId="2147478873"/>
            <ac:spMk id="107" creationId="{8B413D30-71D8-D4A8-649F-3DBBBF6403BF}"/>
          </ac:spMkLst>
        </pc:spChg>
        <pc:spChg chg="mod">
          <ac:chgData name="Marco Casiraghi" userId="34c8cd23-4fb6-4298-956c-4a0fecec7678" providerId="ADAL" clId="{121DDFE8-C1B3-488F-AA1B-7A2D8DFD306D}" dt="2026-01-30T01:24:43.254" v="1757" actId="20577"/>
          <ac:spMkLst>
            <pc:docMk/>
            <pc:sldMk cId="2187746652" sldId="2147478873"/>
            <ac:spMk id="211" creationId="{8ED0B14F-CD5C-E262-E19A-05EB12B6299C}"/>
          </ac:spMkLst>
        </pc:spChg>
        <pc:spChg chg="mod">
          <ac:chgData name="Marco Casiraghi" userId="34c8cd23-4fb6-4298-956c-4a0fecec7678" providerId="ADAL" clId="{121DDFE8-C1B3-488F-AA1B-7A2D8DFD306D}" dt="2026-01-30T01:24:43.263" v="1767" actId="20577"/>
          <ac:spMkLst>
            <pc:docMk/>
            <pc:sldMk cId="2187746652" sldId="2147478873"/>
            <ac:spMk id="213" creationId="{3059DC78-634B-9EB2-C563-E7F432231C89}"/>
          </ac:spMkLst>
        </pc:spChg>
        <pc:spChg chg="mod">
          <ac:chgData name="Marco Casiraghi" userId="34c8cd23-4fb6-4298-956c-4a0fecec7678" providerId="ADAL" clId="{121DDFE8-C1B3-488F-AA1B-7A2D8DFD306D}" dt="2026-01-30T01:24:43.273" v="1777" actId="20577"/>
          <ac:spMkLst>
            <pc:docMk/>
            <pc:sldMk cId="2187746652" sldId="2147478873"/>
            <ac:spMk id="214" creationId="{50802B11-C0BD-891F-52B2-AEAC6D6632CD}"/>
          </ac:spMkLst>
        </pc:spChg>
        <pc:spChg chg="mod">
          <ac:chgData name="Marco Casiraghi" userId="34c8cd23-4fb6-4298-956c-4a0fecec7678" providerId="ADAL" clId="{121DDFE8-C1B3-488F-AA1B-7A2D8DFD306D}" dt="2026-01-30T01:37:30.032" v="2334"/>
          <ac:spMkLst>
            <pc:docMk/>
            <pc:sldMk cId="2187746652" sldId="2147478873"/>
            <ac:spMk id="215" creationId="{ADE5CFFC-4065-7777-83C2-F8026B03C21C}"/>
          </ac:spMkLst>
        </pc:spChg>
        <pc:spChg chg="mod">
          <ac:chgData name="Marco Casiraghi" userId="34c8cd23-4fb6-4298-956c-4a0fecec7678" providerId="ADAL" clId="{121DDFE8-C1B3-488F-AA1B-7A2D8DFD306D}" dt="2026-01-30T01:24:43.293" v="1797" actId="20577"/>
          <ac:spMkLst>
            <pc:docMk/>
            <pc:sldMk cId="2187746652" sldId="2147478873"/>
            <ac:spMk id="216" creationId="{EBA28FF6-9F22-B695-AB28-05A8BCB528AC}"/>
          </ac:spMkLst>
        </pc:spChg>
        <pc:spChg chg="mod">
          <ac:chgData name="Marco Casiraghi" userId="34c8cd23-4fb6-4298-956c-4a0fecec7678" providerId="ADAL" clId="{121DDFE8-C1B3-488F-AA1B-7A2D8DFD306D}" dt="2026-01-30T01:24:43.302" v="1807" actId="20577"/>
          <ac:spMkLst>
            <pc:docMk/>
            <pc:sldMk cId="2187746652" sldId="2147478873"/>
            <ac:spMk id="217" creationId="{F4FDA3EB-0687-64B1-1661-AC1A73A77ABF}"/>
          </ac:spMkLst>
        </pc:spChg>
        <pc:spChg chg="mod">
          <ac:chgData name="Marco Casiraghi" userId="34c8cd23-4fb6-4298-956c-4a0fecec7678" providerId="ADAL" clId="{121DDFE8-C1B3-488F-AA1B-7A2D8DFD306D}" dt="2026-01-30T01:24:43.392" v="1887" actId="20577"/>
          <ac:spMkLst>
            <pc:docMk/>
            <pc:sldMk cId="2187746652" sldId="2147478873"/>
            <ac:spMk id="218" creationId="{F71A33E7-DE7E-BC26-4838-6DB8AB1F2D0A}"/>
          </ac:spMkLst>
        </pc:spChg>
        <pc:spChg chg="mod">
          <ac:chgData name="Marco Casiraghi" userId="34c8cd23-4fb6-4298-956c-4a0fecec7678" providerId="ADAL" clId="{121DDFE8-C1B3-488F-AA1B-7A2D8DFD306D}" dt="2026-01-30T01:24:43.382" v="1877" actId="20577"/>
          <ac:spMkLst>
            <pc:docMk/>
            <pc:sldMk cId="2187746652" sldId="2147478873"/>
            <ac:spMk id="219" creationId="{C47D7259-642E-5B35-A073-D62F8E3731D7}"/>
          </ac:spMkLst>
        </pc:spChg>
        <pc:spChg chg="mod">
          <ac:chgData name="Marco Casiraghi" userId="34c8cd23-4fb6-4298-956c-4a0fecec7678" providerId="ADAL" clId="{121DDFE8-C1B3-488F-AA1B-7A2D8DFD306D}" dt="2026-01-30T01:24:43.370" v="1867" actId="20577"/>
          <ac:spMkLst>
            <pc:docMk/>
            <pc:sldMk cId="2187746652" sldId="2147478873"/>
            <ac:spMk id="220" creationId="{F706F7DF-31C5-4EAF-17B9-EFEDE4ED395D}"/>
          </ac:spMkLst>
        </pc:spChg>
        <pc:spChg chg="mod">
          <ac:chgData name="Marco Casiraghi" userId="34c8cd23-4fb6-4298-956c-4a0fecec7678" providerId="ADAL" clId="{121DDFE8-C1B3-488F-AA1B-7A2D8DFD306D}" dt="2026-01-30T01:33:44.628" v="2333" actId="20577"/>
          <ac:spMkLst>
            <pc:docMk/>
            <pc:sldMk cId="2187746652" sldId="2147478873"/>
            <ac:spMk id="221" creationId="{1ADFB147-0DAA-E2D4-76FC-3F8DB0A550D1}"/>
          </ac:spMkLst>
        </pc:spChg>
        <pc:spChg chg="mod">
          <ac:chgData name="Marco Casiraghi" userId="34c8cd23-4fb6-4298-956c-4a0fecec7678" providerId="ADAL" clId="{121DDFE8-C1B3-488F-AA1B-7A2D8DFD306D}" dt="2026-01-30T01:24:43.344" v="1847" actId="20577"/>
          <ac:spMkLst>
            <pc:docMk/>
            <pc:sldMk cId="2187746652" sldId="2147478873"/>
            <ac:spMk id="222" creationId="{3EFA219C-B1D8-748A-CBE9-312F3B153597}"/>
          </ac:spMkLst>
        </pc:spChg>
        <pc:spChg chg="mod">
          <ac:chgData name="Marco Casiraghi" userId="34c8cd23-4fb6-4298-956c-4a0fecec7678" providerId="ADAL" clId="{121DDFE8-C1B3-488F-AA1B-7A2D8DFD306D}" dt="2026-01-30T01:24:43.331" v="1837" actId="20577"/>
          <ac:spMkLst>
            <pc:docMk/>
            <pc:sldMk cId="2187746652" sldId="2147478873"/>
            <ac:spMk id="223" creationId="{80276089-1CC5-2096-49B4-81055BCC3280}"/>
          </ac:spMkLst>
        </pc:spChg>
        <pc:spChg chg="mod">
          <ac:chgData name="Marco Casiraghi" userId="34c8cd23-4fb6-4298-956c-4a0fecec7678" providerId="ADAL" clId="{121DDFE8-C1B3-488F-AA1B-7A2D8DFD306D}" dt="2026-01-30T01:24:43.322" v="1827" actId="20577"/>
          <ac:spMkLst>
            <pc:docMk/>
            <pc:sldMk cId="2187746652" sldId="2147478873"/>
            <ac:spMk id="224" creationId="{C555BC37-9EF3-BB10-B9F2-A43BD9691A17}"/>
          </ac:spMkLst>
        </pc:spChg>
        <pc:spChg chg="mod">
          <ac:chgData name="Marco Casiraghi" userId="34c8cd23-4fb6-4298-956c-4a0fecec7678" providerId="ADAL" clId="{121DDFE8-C1B3-488F-AA1B-7A2D8DFD306D}" dt="2026-01-30T01:24:43.313" v="1817" actId="20577"/>
          <ac:spMkLst>
            <pc:docMk/>
            <pc:sldMk cId="2187746652" sldId="2147478873"/>
            <ac:spMk id="225" creationId="{660972A7-D2E9-4C0E-A3A8-928158E98EAC}"/>
          </ac:spMkLst>
        </pc:spChg>
        <pc:spChg chg="mod">
          <ac:chgData name="Marco Casiraghi" userId="34c8cd23-4fb6-4298-956c-4a0fecec7678" providerId="ADAL" clId="{121DDFE8-C1B3-488F-AA1B-7A2D8DFD306D}" dt="2026-01-30T01:24:43.240" v="1745" actId="20577"/>
          <ac:spMkLst>
            <pc:docMk/>
            <pc:sldMk cId="2187746652" sldId="2147478873"/>
            <ac:spMk id="226" creationId="{390E403E-D279-3863-2DCD-759E41BD48BC}"/>
          </ac:spMkLst>
        </pc:spChg>
        <pc:spChg chg="mod">
          <ac:chgData name="Marco Casiraghi" userId="34c8cd23-4fb6-4298-956c-4a0fecec7678" providerId="ADAL" clId="{121DDFE8-C1B3-488F-AA1B-7A2D8DFD306D}" dt="2026-01-30T01:24:43.252" v="1755" actId="20577"/>
          <ac:spMkLst>
            <pc:docMk/>
            <pc:sldMk cId="2187746652" sldId="2147478873"/>
            <ac:spMk id="227" creationId="{D758576B-DA15-1077-73F2-C800288EEC58}"/>
          </ac:spMkLst>
        </pc:spChg>
        <pc:spChg chg="mod">
          <ac:chgData name="Marco Casiraghi" userId="34c8cd23-4fb6-4298-956c-4a0fecec7678" providerId="ADAL" clId="{121DDFE8-C1B3-488F-AA1B-7A2D8DFD306D}" dt="2026-01-30T01:24:43.261" v="1765" actId="20577"/>
          <ac:spMkLst>
            <pc:docMk/>
            <pc:sldMk cId="2187746652" sldId="2147478873"/>
            <ac:spMk id="228" creationId="{49AB52E6-4228-A323-04E7-DA9F7BCB616B}"/>
          </ac:spMkLst>
        </pc:spChg>
        <pc:spChg chg="mod">
          <ac:chgData name="Marco Casiraghi" userId="34c8cd23-4fb6-4298-956c-4a0fecec7678" providerId="ADAL" clId="{121DDFE8-C1B3-488F-AA1B-7A2D8DFD306D}" dt="2026-01-30T01:24:43.270" v="1775" actId="20577"/>
          <ac:spMkLst>
            <pc:docMk/>
            <pc:sldMk cId="2187746652" sldId="2147478873"/>
            <ac:spMk id="229" creationId="{E695D570-CF6A-2B4D-DB7E-7EE174766FC0}"/>
          </ac:spMkLst>
        </pc:spChg>
        <pc:spChg chg="mod">
          <ac:chgData name="Marco Casiraghi" userId="34c8cd23-4fb6-4298-956c-4a0fecec7678" providerId="ADAL" clId="{121DDFE8-C1B3-488F-AA1B-7A2D8DFD306D}" dt="2026-01-30T01:24:43.282" v="1785" actId="20577"/>
          <ac:spMkLst>
            <pc:docMk/>
            <pc:sldMk cId="2187746652" sldId="2147478873"/>
            <ac:spMk id="230" creationId="{1B2D1AC7-71BE-1400-3AC7-255909AF5784}"/>
          </ac:spMkLst>
        </pc:spChg>
        <pc:spChg chg="mod">
          <ac:chgData name="Marco Casiraghi" userId="34c8cd23-4fb6-4298-956c-4a0fecec7678" providerId="ADAL" clId="{121DDFE8-C1B3-488F-AA1B-7A2D8DFD306D}" dt="2026-01-30T01:24:43.291" v="1795" actId="20577"/>
          <ac:spMkLst>
            <pc:docMk/>
            <pc:sldMk cId="2187746652" sldId="2147478873"/>
            <ac:spMk id="231" creationId="{328D9C00-D33A-C829-7BF3-460D0B920320}"/>
          </ac:spMkLst>
        </pc:spChg>
        <pc:spChg chg="mod">
          <ac:chgData name="Marco Casiraghi" userId="34c8cd23-4fb6-4298-956c-4a0fecec7678" providerId="ADAL" clId="{121DDFE8-C1B3-488F-AA1B-7A2D8DFD306D}" dt="2026-01-30T01:24:43.300" v="1805" actId="20577"/>
          <ac:spMkLst>
            <pc:docMk/>
            <pc:sldMk cId="2187746652" sldId="2147478873"/>
            <ac:spMk id="232" creationId="{BB09253E-1A25-9E9B-BAC0-C549C1A5F6E3}"/>
          </ac:spMkLst>
        </pc:spChg>
        <pc:spChg chg="mod">
          <ac:chgData name="Marco Casiraghi" userId="34c8cd23-4fb6-4298-956c-4a0fecec7678" providerId="ADAL" clId="{121DDFE8-C1B3-488F-AA1B-7A2D8DFD306D}" dt="2026-01-30T01:24:43.390" v="1885" actId="20577"/>
          <ac:spMkLst>
            <pc:docMk/>
            <pc:sldMk cId="2187746652" sldId="2147478873"/>
            <ac:spMk id="233" creationId="{28023AE5-9BF2-561C-EF95-DEF104D9A9FB}"/>
          </ac:spMkLst>
        </pc:spChg>
        <pc:spChg chg="mod">
          <ac:chgData name="Marco Casiraghi" userId="34c8cd23-4fb6-4298-956c-4a0fecec7678" providerId="ADAL" clId="{121DDFE8-C1B3-488F-AA1B-7A2D8DFD306D}" dt="2026-01-30T01:24:43.379" v="1875" actId="20577"/>
          <ac:spMkLst>
            <pc:docMk/>
            <pc:sldMk cId="2187746652" sldId="2147478873"/>
            <ac:spMk id="234" creationId="{28499802-AD07-30FB-088F-26ED989EB948}"/>
          </ac:spMkLst>
        </pc:spChg>
        <pc:spChg chg="mod">
          <ac:chgData name="Marco Casiraghi" userId="34c8cd23-4fb6-4298-956c-4a0fecec7678" providerId="ADAL" clId="{121DDFE8-C1B3-488F-AA1B-7A2D8DFD306D}" dt="2026-01-30T01:24:43.368" v="1865" actId="20577"/>
          <ac:spMkLst>
            <pc:docMk/>
            <pc:sldMk cId="2187746652" sldId="2147478873"/>
            <ac:spMk id="235" creationId="{D7F4238B-EBDD-5670-0A0C-4B1613DAAA73}"/>
          </ac:spMkLst>
        </pc:spChg>
        <pc:spChg chg="mod">
          <ac:chgData name="Marco Casiraghi" userId="34c8cd23-4fb6-4298-956c-4a0fecec7678" providerId="ADAL" clId="{121DDFE8-C1B3-488F-AA1B-7A2D8DFD306D}" dt="2026-01-30T01:24:43.357" v="1855" actId="20577"/>
          <ac:spMkLst>
            <pc:docMk/>
            <pc:sldMk cId="2187746652" sldId="2147478873"/>
            <ac:spMk id="236" creationId="{661CEFC5-C03A-525F-9DA6-C8BF15F9533F}"/>
          </ac:spMkLst>
        </pc:spChg>
        <pc:spChg chg="mod">
          <ac:chgData name="Marco Casiraghi" userId="34c8cd23-4fb6-4298-956c-4a0fecec7678" providerId="ADAL" clId="{121DDFE8-C1B3-488F-AA1B-7A2D8DFD306D}" dt="2026-01-30T01:24:43.340" v="1845" actId="20577"/>
          <ac:spMkLst>
            <pc:docMk/>
            <pc:sldMk cId="2187746652" sldId="2147478873"/>
            <ac:spMk id="237" creationId="{688E7FD3-E2A7-37C5-72F8-1AFE0B769422}"/>
          </ac:spMkLst>
        </pc:spChg>
        <pc:spChg chg="mod">
          <ac:chgData name="Marco Casiraghi" userId="34c8cd23-4fb6-4298-956c-4a0fecec7678" providerId="ADAL" clId="{121DDFE8-C1B3-488F-AA1B-7A2D8DFD306D}" dt="2026-01-30T01:24:43.329" v="1835" actId="20577"/>
          <ac:spMkLst>
            <pc:docMk/>
            <pc:sldMk cId="2187746652" sldId="2147478873"/>
            <ac:spMk id="238" creationId="{F4D52F33-BAA6-73CF-06DB-B8C2A4737B9F}"/>
          </ac:spMkLst>
        </pc:spChg>
        <pc:spChg chg="mod">
          <ac:chgData name="Marco Casiraghi" userId="34c8cd23-4fb6-4298-956c-4a0fecec7678" providerId="ADAL" clId="{121DDFE8-C1B3-488F-AA1B-7A2D8DFD306D}" dt="2026-01-30T01:24:43.320" v="1825" actId="20577"/>
          <ac:spMkLst>
            <pc:docMk/>
            <pc:sldMk cId="2187746652" sldId="2147478873"/>
            <ac:spMk id="239" creationId="{1CFC9E63-79F8-F535-8D37-EEFDBD0A49E0}"/>
          </ac:spMkLst>
        </pc:spChg>
        <pc:spChg chg="mod">
          <ac:chgData name="Marco Casiraghi" userId="34c8cd23-4fb6-4298-956c-4a0fecec7678" providerId="ADAL" clId="{121DDFE8-C1B3-488F-AA1B-7A2D8DFD306D}" dt="2026-01-30T01:24:43.311" v="1815" actId="20577"/>
          <ac:spMkLst>
            <pc:docMk/>
            <pc:sldMk cId="2187746652" sldId="2147478873"/>
            <ac:spMk id="240" creationId="{5D81A351-3D87-CF52-0AF2-954CB754CF5D}"/>
          </ac:spMkLst>
        </pc:spChg>
        <pc:spChg chg="mod">
          <ac:chgData name="Marco Casiraghi" userId="34c8cd23-4fb6-4298-956c-4a0fecec7678" providerId="ADAL" clId="{121DDFE8-C1B3-488F-AA1B-7A2D8DFD306D}" dt="2026-01-30T01:24:43.245" v="1749" actId="20577"/>
          <ac:spMkLst>
            <pc:docMk/>
            <pc:sldMk cId="2187746652" sldId="2147478873"/>
            <ac:spMk id="241" creationId="{7D9886D8-DF3D-1701-9602-D6607D9C9A3B}"/>
          </ac:spMkLst>
        </pc:spChg>
        <pc:spChg chg="mod">
          <ac:chgData name="Marco Casiraghi" userId="34c8cd23-4fb6-4298-956c-4a0fecec7678" providerId="ADAL" clId="{121DDFE8-C1B3-488F-AA1B-7A2D8DFD306D}" dt="2026-01-30T01:24:43.256" v="1759" actId="20577"/>
          <ac:spMkLst>
            <pc:docMk/>
            <pc:sldMk cId="2187746652" sldId="2147478873"/>
            <ac:spMk id="242" creationId="{71A81663-2057-7609-6A7B-4D45465C1337}"/>
          </ac:spMkLst>
        </pc:spChg>
        <pc:spChg chg="mod">
          <ac:chgData name="Marco Casiraghi" userId="34c8cd23-4fb6-4298-956c-4a0fecec7678" providerId="ADAL" clId="{121DDFE8-C1B3-488F-AA1B-7A2D8DFD306D}" dt="2026-01-30T01:24:43.265" v="1769" actId="20577"/>
          <ac:spMkLst>
            <pc:docMk/>
            <pc:sldMk cId="2187746652" sldId="2147478873"/>
            <ac:spMk id="243" creationId="{7C57181F-EAAD-C495-6568-BE2911A890E0}"/>
          </ac:spMkLst>
        </pc:spChg>
        <pc:spChg chg="mod">
          <ac:chgData name="Marco Casiraghi" userId="34c8cd23-4fb6-4298-956c-4a0fecec7678" providerId="ADAL" clId="{121DDFE8-C1B3-488F-AA1B-7A2D8DFD306D}" dt="2026-01-30T01:24:43.275" v="1779" actId="20577"/>
          <ac:spMkLst>
            <pc:docMk/>
            <pc:sldMk cId="2187746652" sldId="2147478873"/>
            <ac:spMk id="244" creationId="{D157F496-A13D-444F-13B6-FD747916DA28}"/>
          </ac:spMkLst>
        </pc:spChg>
        <pc:spChg chg="mod">
          <ac:chgData name="Marco Casiraghi" userId="34c8cd23-4fb6-4298-956c-4a0fecec7678" providerId="ADAL" clId="{121DDFE8-C1B3-488F-AA1B-7A2D8DFD306D}" dt="2026-01-30T01:24:43.285" v="1789" actId="20577"/>
          <ac:spMkLst>
            <pc:docMk/>
            <pc:sldMk cId="2187746652" sldId="2147478873"/>
            <ac:spMk id="245" creationId="{141BEAD8-8ECA-3369-AF02-88D8A0EFFD51}"/>
          </ac:spMkLst>
        </pc:spChg>
        <pc:spChg chg="mod">
          <ac:chgData name="Marco Casiraghi" userId="34c8cd23-4fb6-4298-956c-4a0fecec7678" providerId="ADAL" clId="{121DDFE8-C1B3-488F-AA1B-7A2D8DFD306D}" dt="2026-01-30T01:24:43.295" v="1799" actId="20577"/>
          <ac:spMkLst>
            <pc:docMk/>
            <pc:sldMk cId="2187746652" sldId="2147478873"/>
            <ac:spMk id="246" creationId="{17004BE7-8341-D0AA-66A2-1A7D265F3CFC}"/>
          </ac:spMkLst>
        </pc:spChg>
        <pc:spChg chg="mod">
          <ac:chgData name="Marco Casiraghi" userId="34c8cd23-4fb6-4298-956c-4a0fecec7678" providerId="ADAL" clId="{121DDFE8-C1B3-488F-AA1B-7A2D8DFD306D}" dt="2026-01-30T01:24:43.304" v="1809" actId="20577"/>
          <ac:spMkLst>
            <pc:docMk/>
            <pc:sldMk cId="2187746652" sldId="2147478873"/>
            <ac:spMk id="247" creationId="{F3CA5127-9E26-70C9-27B5-D251B415D19C}"/>
          </ac:spMkLst>
        </pc:spChg>
        <pc:spChg chg="mod">
          <ac:chgData name="Marco Casiraghi" userId="34c8cd23-4fb6-4298-956c-4a0fecec7678" providerId="ADAL" clId="{121DDFE8-C1B3-488F-AA1B-7A2D8DFD306D}" dt="2026-01-30T01:24:43.394" v="1889" actId="20577"/>
          <ac:spMkLst>
            <pc:docMk/>
            <pc:sldMk cId="2187746652" sldId="2147478873"/>
            <ac:spMk id="248" creationId="{12CAC7D6-7DF1-A80D-0BFC-C87D4E317477}"/>
          </ac:spMkLst>
        </pc:spChg>
        <pc:spChg chg="mod">
          <ac:chgData name="Marco Casiraghi" userId="34c8cd23-4fb6-4298-956c-4a0fecec7678" providerId="ADAL" clId="{121DDFE8-C1B3-488F-AA1B-7A2D8DFD306D}" dt="2026-01-30T01:24:43.384" v="1879" actId="20577"/>
          <ac:spMkLst>
            <pc:docMk/>
            <pc:sldMk cId="2187746652" sldId="2147478873"/>
            <ac:spMk id="249" creationId="{DC03C0E1-71D7-A542-828E-358E510C0217}"/>
          </ac:spMkLst>
        </pc:spChg>
        <pc:spChg chg="mod">
          <ac:chgData name="Marco Casiraghi" userId="34c8cd23-4fb6-4298-956c-4a0fecec7678" providerId="ADAL" clId="{121DDFE8-C1B3-488F-AA1B-7A2D8DFD306D}" dt="2026-01-30T01:24:43.372" v="1869" actId="20577"/>
          <ac:spMkLst>
            <pc:docMk/>
            <pc:sldMk cId="2187746652" sldId="2147478873"/>
            <ac:spMk id="250" creationId="{76CD4A76-815C-CCBA-4FAC-BA59D0419E9B}"/>
          </ac:spMkLst>
        </pc:spChg>
        <pc:spChg chg="mod">
          <ac:chgData name="Marco Casiraghi" userId="34c8cd23-4fb6-4298-956c-4a0fecec7678" providerId="ADAL" clId="{121DDFE8-C1B3-488F-AA1B-7A2D8DFD306D}" dt="2026-01-30T01:24:43.361" v="1859" actId="20577"/>
          <ac:spMkLst>
            <pc:docMk/>
            <pc:sldMk cId="2187746652" sldId="2147478873"/>
            <ac:spMk id="251" creationId="{0F47251B-1E42-424F-0BF8-8ACD81F684B8}"/>
          </ac:spMkLst>
        </pc:spChg>
        <pc:spChg chg="mod">
          <ac:chgData name="Marco Casiraghi" userId="34c8cd23-4fb6-4298-956c-4a0fecec7678" providerId="ADAL" clId="{121DDFE8-C1B3-488F-AA1B-7A2D8DFD306D}" dt="2026-01-30T01:24:43.347" v="1849" actId="20577"/>
          <ac:spMkLst>
            <pc:docMk/>
            <pc:sldMk cId="2187746652" sldId="2147478873"/>
            <ac:spMk id="252" creationId="{76FEB7DE-A4A7-CA96-63FF-04C6886944BD}"/>
          </ac:spMkLst>
        </pc:spChg>
        <pc:spChg chg="mod">
          <ac:chgData name="Marco Casiraghi" userId="34c8cd23-4fb6-4298-956c-4a0fecec7678" providerId="ADAL" clId="{121DDFE8-C1B3-488F-AA1B-7A2D8DFD306D}" dt="2026-01-30T01:24:43.333" v="1839" actId="20577"/>
          <ac:spMkLst>
            <pc:docMk/>
            <pc:sldMk cId="2187746652" sldId="2147478873"/>
            <ac:spMk id="253" creationId="{92F10176-A126-7D28-2446-87B04790B104}"/>
          </ac:spMkLst>
        </pc:spChg>
        <pc:spChg chg="mod">
          <ac:chgData name="Marco Casiraghi" userId="34c8cd23-4fb6-4298-956c-4a0fecec7678" providerId="ADAL" clId="{121DDFE8-C1B3-488F-AA1B-7A2D8DFD306D}" dt="2026-01-30T01:24:43.324" v="1829" actId="20577"/>
          <ac:spMkLst>
            <pc:docMk/>
            <pc:sldMk cId="2187746652" sldId="2147478873"/>
            <ac:spMk id="254" creationId="{47533AEB-84C1-D570-D89D-C3DA5F07B6A7}"/>
          </ac:spMkLst>
        </pc:spChg>
        <pc:spChg chg="mod">
          <ac:chgData name="Marco Casiraghi" userId="34c8cd23-4fb6-4298-956c-4a0fecec7678" providerId="ADAL" clId="{121DDFE8-C1B3-488F-AA1B-7A2D8DFD306D}" dt="2026-01-30T01:24:43.314" v="1819" actId="20577"/>
          <ac:spMkLst>
            <pc:docMk/>
            <pc:sldMk cId="2187746652" sldId="2147478873"/>
            <ac:spMk id="255" creationId="{CD7C1452-B086-CF42-0738-B915F487DA81}"/>
          </ac:spMkLst>
        </pc:spChg>
        <pc:spChg chg="del">
          <ac:chgData name="Marco Casiraghi" userId="34c8cd23-4fb6-4298-956c-4a0fecec7678" providerId="ADAL" clId="{121DDFE8-C1B3-488F-AA1B-7A2D8DFD306D}" dt="2026-01-30T01:24:50.394" v="1915" actId="478"/>
          <ac:spMkLst>
            <pc:docMk/>
            <pc:sldMk cId="2187746652" sldId="2147478873"/>
            <ac:spMk id="256" creationId="{A1D834A8-B7F9-126B-33B6-A0754FE60BAD}"/>
          </ac:spMkLst>
        </pc:spChg>
        <pc:spChg chg="mod">
          <ac:chgData name="Marco Casiraghi" userId="34c8cd23-4fb6-4298-956c-4a0fecec7678" providerId="ADAL" clId="{121DDFE8-C1B3-488F-AA1B-7A2D8DFD306D}" dt="2026-01-30T01:24:43.403" v="1890" actId="948"/>
          <ac:spMkLst>
            <pc:docMk/>
            <pc:sldMk cId="2187746652" sldId="2147478873"/>
            <ac:spMk id="273" creationId="{9DC47D50-6A06-28B5-46CB-A7311CB46962}"/>
          </ac:spMkLst>
        </pc:spChg>
        <pc:graphicFrameChg chg="mod">
          <ac:chgData name="Marco Casiraghi" userId="34c8cd23-4fb6-4298-956c-4a0fecec7678" providerId="ADAL" clId="{121DDFE8-C1B3-488F-AA1B-7A2D8DFD306D}" dt="2026-01-30T01:24:43.438" v="1914"/>
          <ac:graphicFrameMkLst>
            <pc:docMk/>
            <pc:sldMk cId="2187746652" sldId="2147478873"/>
            <ac:graphicFrameMk id="212" creationId="{EF462318-A2CA-1947-C01C-3B44F1876C59}"/>
          </ac:graphicFrameMkLst>
        </pc:graphicFrameChg>
      </pc:sldChg>
      <pc:sldChg chg="addSp delSp modSp add mod">
        <pc:chgData name="Marco Casiraghi" userId="34c8cd23-4fb6-4298-956c-4a0fecec7678" providerId="ADAL" clId="{121DDFE8-C1B3-488F-AA1B-7A2D8DFD306D}" dt="2026-01-30T02:00:09.222" v="2446" actId="20577"/>
        <pc:sldMkLst>
          <pc:docMk/>
          <pc:sldMk cId="2653925428" sldId="2147478874"/>
        </pc:sldMkLst>
        <pc:spChg chg="add del mod modVis">
          <ac:chgData name="Marco Casiraghi" userId="34c8cd23-4fb6-4298-956c-4a0fecec7678" providerId="ADAL" clId="{121DDFE8-C1B3-488F-AA1B-7A2D8DFD306D}" dt="2026-01-30T01:25:03.182" v="1943"/>
          <ac:spMkLst>
            <pc:docMk/>
            <pc:sldMk cId="2653925428" sldId="2147478874"/>
            <ac:spMk id="2" creationId="{468BDA99-4F39-9D92-8E17-A0B2D26FDADD}"/>
          </ac:spMkLst>
        </pc:spChg>
        <pc:spChg chg="add mod">
          <ac:chgData name="Marco Casiraghi" userId="34c8cd23-4fb6-4298-956c-4a0fecec7678" providerId="ADAL" clId="{121DDFE8-C1B3-488F-AA1B-7A2D8DFD306D}" dt="2026-01-30T01:49:30.258" v="2445"/>
          <ac:spMkLst>
            <pc:docMk/>
            <pc:sldMk cId="2653925428" sldId="2147478874"/>
            <ac:spMk id="3" creationId="{6DBB5935-B290-9461-C2B2-7474F2D5B900}"/>
          </ac:spMkLst>
        </pc:spChg>
        <pc:spChg chg="mod">
          <ac:chgData name="Marco Casiraghi" userId="34c8cd23-4fb6-4298-956c-4a0fecec7678" providerId="ADAL" clId="{121DDFE8-C1B3-488F-AA1B-7A2D8DFD306D}" dt="2026-01-30T01:25:13.175" v="1947" actId="20577"/>
          <ac:spMkLst>
            <pc:docMk/>
            <pc:sldMk cId="2653925428" sldId="2147478874"/>
            <ac:spMk id="77" creationId="{7CC4F07B-7368-3C55-71BC-9CCAAB3A67B4}"/>
          </ac:spMkLst>
        </pc:spChg>
        <pc:spChg chg="mod">
          <ac:chgData name="Marco Casiraghi" userId="34c8cd23-4fb6-4298-956c-4a0fecec7678" providerId="ADAL" clId="{121DDFE8-C1B3-488F-AA1B-7A2D8DFD306D}" dt="2026-01-30T02:00:09.222" v="2446" actId="20577"/>
          <ac:spMkLst>
            <pc:docMk/>
            <pc:sldMk cId="2653925428" sldId="2147478874"/>
            <ac:spMk id="78" creationId="{5A89FF1E-298B-9A71-0326-4717E574A822}"/>
          </ac:spMkLst>
        </pc:spChg>
        <pc:spChg chg="mod">
          <ac:chgData name="Marco Casiraghi" userId="34c8cd23-4fb6-4298-956c-4a0fecec7678" providerId="ADAL" clId="{121DDFE8-C1B3-488F-AA1B-7A2D8DFD306D}" dt="2026-01-30T01:25:13.193" v="1957" actId="20577"/>
          <ac:spMkLst>
            <pc:docMk/>
            <pc:sldMk cId="2653925428" sldId="2147478874"/>
            <ac:spMk id="79" creationId="{5FB5703C-64CC-9660-F7C4-328106562A97}"/>
          </ac:spMkLst>
        </pc:spChg>
        <pc:spChg chg="mod">
          <ac:chgData name="Marco Casiraghi" userId="34c8cd23-4fb6-4298-956c-4a0fecec7678" providerId="ADAL" clId="{121DDFE8-C1B3-488F-AA1B-7A2D8DFD306D}" dt="2026-01-30T01:25:13.196" v="1959" actId="20577"/>
          <ac:spMkLst>
            <pc:docMk/>
            <pc:sldMk cId="2653925428" sldId="2147478874"/>
            <ac:spMk id="80" creationId="{BFFB680A-A54E-479A-D81C-8A04E3CF9E59}"/>
          </ac:spMkLst>
        </pc:spChg>
        <pc:spChg chg="mod">
          <ac:chgData name="Marco Casiraghi" userId="34c8cd23-4fb6-4298-956c-4a0fecec7678" providerId="ADAL" clId="{121DDFE8-C1B3-488F-AA1B-7A2D8DFD306D}" dt="2026-01-30T01:25:13.207" v="1967" actId="20577"/>
          <ac:spMkLst>
            <pc:docMk/>
            <pc:sldMk cId="2653925428" sldId="2147478874"/>
            <ac:spMk id="81" creationId="{19F3C38D-1A22-B2CD-B258-482EBB857F9B}"/>
          </ac:spMkLst>
        </pc:spChg>
        <pc:spChg chg="mod">
          <ac:chgData name="Marco Casiraghi" userId="34c8cd23-4fb6-4298-956c-4a0fecec7678" providerId="ADAL" clId="{121DDFE8-C1B3-488F-AA1B-7A2D8DFD306D}" dt="2026-01-30T01:43:04.484" v="2368" actId="20577"/>
          <ac:spMkLst>
            <pc:docMk/>
            <pc:sldMk cId="2653925428" sldId="2147478874"/>
            <ac:spMk id="82" creationId="{C125CDC3-FE86-49F5-1D38-8C8FDD7FDFCF}"/>
          </ac:spMkLst>
        </pc:spChg>
        <pc:spChg chg="mod">
          <ac:chgData name="Marco Casiraghi" userId="34c8cd23-4fb6-4298-956c-4a0fecec7678" providerId="ADAL" clId="{121DDFE8-C1B3-488F-AA1B-7A2D8DFD306D}" dt="2026-01-30T01:25:13.219" v="1977" actId="20577"/>
          <ac:spMkLst>
            <pc:docMk/>
            <pc:sldMk cId="2653925428" sldId="2147478874"/>
            <ac:spMk id="83" creationId="{63195C3F-2E26-50AE-5C4C-95D2EE8599E4}"/>
          </ac:spMkLst>
        </pc:spChg>
        <pc:spChg chg="mod">
          <ac:chgData name="Marco Casiraghi" userId="34c8cd23-4fb6-4298-956c-4a0fecec7678" providerId="ADAL" clId="{121DDFE8-C1B3-488F-AA1B-7A2D8DFD306D}" dt="2026-01-30T01:25:13.221" v="1979" actId="20577"/>
          <ac:spMkLst>
            <pc:docMk/>
            <pc:sldMk cId="2653925428" sldId="2147478874"/>
            <ac:spMk id="84" creationId="{FDF5F57B-26A9-8051-BE52-A3EABBD2E8AA}"/>
          </ac:spMkLst>
        </pc:spChg>
        <pc:spChg chg="mod">
          <ac:chgData name="Marco Casiraghi" userId="34c8cd23-4fb6-4298-956c-4a0fecec7678" providerId="ADAL" clId="{121DDFE8-C1B3-488F-AA1B-7A2D8DFD306D}" dt="2026-01-30T01:25:13.228" v="1987" actId="20577"/>
          <ac:spMkLst>
            <pc:docMk/>
            <pc:sldMk cId="2653925428" sldId="2147478874"/>
            <ac:spMk id="85" creationId="{3E806D5A-0DFB-4F3A-1587-C72840602232}"/>
          </ac:spMkLst>
        </pc:spChg>
        <pc:spChg chg="mod">
          <ac:chgData name="Marco Casiraghi" userId="34c8cd23-4fb6-4298-956c-4a0fecec7678" providerId="ADAL" clId="{121DDFE8-C1B3-488F-AA1B-7A2D8DFD306D}" dt="2026-01-30T01:25:13.230" v="1989" actId="20577"/>
          <ac:spMkLst>
            <pc:docMk/>
            <pc:sldMk cId="2653925428" sldId="2147478874"/>
            <ac:spMk id="86" creationId="{37566207-06F8-53C4-84BC-C484ACD2DEE0}"/>
          </ac:spMkLst>
        </pc:spChg>
        <pc:spChg chg="mod">
          <ac:chgData name="Marco Casiraghi" userId="34c8cd23-4fb6-4298-956c-4a0fecec7678" providerId="ADAL" clId="{121DDFE8-C1B3-488F-AA1B-7A2D8DFD306D}" dt="2026-01-30T01:25:13.238" v="1997" actId="20577"/>
          <ac:spMkLst>
            <pc:docMk/>
            <pc:sldMk cId="2653925428" sldId="2147478874"/>
            <ac:spMk id="87" creationId="{4C1679B6-EB85-65F3-8E79-4709B040C499}"/>
          </ac:spMkLst>
        </pc:spChg>
        <pc:spChg chg="mod">
          <ac:chgData name="Marco Casiraghi" userId="34c8cd23-4fb6-4298-956c-4a0fecec7678" providerId="ADAL" clId="{121DDFE8-C1B3-488F-AA1B-7A2D8DFD306D}" dt="2026-01-30T01:25:13.240" v="1999" actId="20577"/>
          <ac:spMkLst>
            <pc:docMk/>
            <pc:sldMk cId="2653925428" sldId="2147478874"/>
            <ac:spMk id="88" creationId="{29CB9965-1F5D-DE0C-06F7-19CE101CDCA7}"/>
          </ac:spMkLst>
        </pc:spChg>
        <pc:spChg chg="mod">
          <ac:chgData name="Marco Casiraghi" userId="34c8cd23-4fb6-4298-956c-4a0fecec7678" providerId="ADAL" clId="{121DDFE8-C1B3-488F-AA1B-7A2D8DFD306D}" dt="2026-01-30T01:25:13.248" v="2007" actId="20577"/>
          <ac:spMkLst>
            <pc:docMk/>
            <pc:sldMk cId="2653925428" sldId="2147478874"/>
            <ac:spMk id="89" creationId="{9871804F-A7B6-D9D3-A7F3-389595516512}"/>
          </ac:spMkLst>
        </pc:spChg>
        <pc:spChg chg="mod">
          <ac:chgData name="Marco Casiraghi" userId="34c8cd23-4fb6-4298-956c-4a0fecec7678" providerId="ADAL" clId="{121DDFE8-C1B3-488F-AA1B-7A2D8DFD306D}" dt="2026-01-30T01:25:13.250" v="2009" actId="20577"/>
          <ac:spMkLst>
            <pc:docMk/>
            <pc:sldMk cId="2653925428" sldId="2147478874"/>
            <ac:spMk id="90" creationId="{EF2527F9-807E-2203-1603-826CCB84F8C7}"/>
          </ac:spMkLst>
        </pc:spChg>
        <pc:spChg chg="mod">
          <ac:chgData name="Marco Casiraghi" userId="34c8cd23-4fb6-4298-956c-4a0fecec7678" providerId="ADAL" clId="{121DDFE8-C1B3-488F-AA1B-7A2D8DFD306D}" dt="2026-01-30T01:25:13.337" v="2087" actId="20577"/>
          <ac:spMkLst>
            <pc:docMk/>
            <pc:sldMk cId="2653925428" sldId="2147478874"/>
            <ac:spMk id="91" creationId="{586FE110-AE82-3AC5-4EFF-6BE1D282014B}"/>
          </ac:spMkLst>
        </pc:spChg>
        <pc:spChg chg="mod">
          <ac:chgData name="Marco Casiraghi" userId="34c8cd23-4fb6-4298-956c-4a0fecec7678" providerId="ADAL" clId="{121DDFE8-C1B3-488F-AA1B-7A2D8DFD306D}" dt="2026-01-30T01:25:13.340" v="2089" actId="20577"/>
          <ac:spMkLst>
            <pc:docMk/>
            <pc:sldMk cId="2653925428" sldId="2147478874"/>
            <ac:spMk id="92" creationId="{55216D23-4208-4DD6-9338-1E3C072A5C6D}"/>
          </ac:spMkLst>
        </pc:spChg>
        <pc:spChg chg="mod">
          <ac:chgData name="Marco Casiraghi" userId="34c8cd23-4fb6-4298-956c-4a0fecec7678" providerId="ADAL" clId="{121DDFE8-C1B3-488F-AA1B-7A2D8DFD306D}" dt="2026-01-30T01:25:13.326" v="2077" actId="20577"/>
          <ac:spMkLst>
            <pc:docMk/>
            <pc:sldMk cId="2653925428" sldId="2147478874"/>
            <ac:spMk id="93" creationId="{0AFE0491-84C7-A470-D474-18AB03EF673A}"/>
          </ac:spMkLst>
        </pc:spChg>
        <pc:spChg chg="mod">
          <ac:chgData name="Marco Casiraghi" userId="34c8cd23-4fb6-4298-956c-4a0fecec7678" providerId="ADAL" clId="{121DDFE8-C1B3-488F-AA1B-7A2D8DFD306D}" dt="2026-01-30T01:25:13.328" v="2079" actId="20577"/>
          <ac:spMkLst>
            <pc:docMk/>
            <pc:sldMk cId="2653925428" sldId="2147478874"/>
            <ac:spMk id="94" creationId="{6CF4B5D6-11AE-0FE4-5476-31E23F49FC25}"/>
          </ac:spMkLst>
        </pc:spChg>
        <pc:spChg chg="mod">
          <ac:chgData name="Marco Casiraghi" userId="34c8cd23-4fb6-4298-956c-4a0fecec7678" providerId="ADAL" clId="{121DDFE8-C1B3-488F-AA1B-7A2D8DFD306D}" dt="2026-01-30T01:25:13.314" v="2067" actId="20577"/>
          <ac:spMkLst>
            <pc:docMk/>
            <pc:sldMk cId="2653925428" sldId="2147478874"/>
            <ac:spMk id="95" creationId="{9812D883-F588-78A5-0BB0-F79EDA38149F}"/>
          </ac:spMkLst>
        </pc:spChg>
        <pc:spChg chg="mod">
          <ac:chgData name="Marco Casiraghi" userId="34c8cd23-4fb6-4298-956c-4a0fecec7678" providerId="ADAL" clId="{121DDFE8-C1B3-488F-AA1B-7A2D8DFD306D}" dt="2026-01-30T01:25:13.317" v="2069" actId="20577"/>
          <ac:spMkLst>
            <pc:docMk/>
            <pc:sldMk cId="2653925428" sldId="2147478874"/>
            <ac:spMk id="96" creationId="{9E09D8E0-61F4-09EB-4167-0C4C2E59754D}"/>
          </ac:spMkLst>
        </pc:spChg>
        <pc:spChg chg="mod">
          <ac:chgData name="Marco Casiraghi" userId="34c8cd23-4fb6-4298-956c-4a0fecec7678" providerId="ADAL" clId="{121DDFE8-C1B3-488F-AA1B-7A2D8DFD306D}" dt="2026-01-30T01:25:13.304" v="2057" actId="20577"/>
          <ac:spMkLst>
            <pc:docMk/>
            <pc:sldMk cId="2653925428" sldId="2147478874"/>
            <ac:spMk id="97" creationId="{52ABDD2B-AB5C-F194-9AB6-196AF9397347}"/>
          </ac:spMkLst>
        </pc:spChg>
        <pc:spChg chg="mod">
          <ac:chgData name="Marco Casiraghi" userId="34c8cd23-4fb6-4298-956c-4a0fecec7678" providerId="ADAL" clId="{121DDFE8-C1B3-488F-AA1B-7A2D8DFD306D}" dt="2026-01-30T01:25:13.306" v="2059" actId="20577"/>
          <ac:spMkLst>
            <pc:docMk/>
            <pc:sldMk cId="2653925428" sldId="2147478874"/>
            <ac:spMk id="98" creationId="{C260F3A7-A217-F115-D932-2B29A44B8F7A}"/>
          </ac:spMkLst>
        </pc:spChg>
        <pc:spChg chg="mod">
          <ac:chgData name="Marco Casiraghi" userId="34c8cd23-4fb6-4298-956c-4a0fecec7678" providerId="ADAL" clId="{121DDFE8-C1B3-488F-AA1B-7A2D8DFD306D}" dt="2026-01-30T01:25:13.293" v="2047" actId="20577"/>
          <ac:spMkLst>
            <pc:docMk/>
            <pc:sldMk cId="2653925428" sldId="2147478874"/>
            <ac:spMk id="99" creationId="{1B8FC306-F662-A302-C50C-A66AAAB45829}"/>
          </ac:spMkLst>
        </pc:spChg>
        <pc:spChg chg="mod">
          <ac:chgData name="Marco Casiraghi" userId="34c8cd23-4fb6-4298-956c-4a0fecec7678" providerId="ADAL" clId="{121DDFE8-C1B3-488F-AA1B-7A2D8DFD306D}" dt="2026-01-30T01:25:13.296" v="2049" actId="20577"/>
          <ac:spMkLst>
            <pc:docMk/>
            <pc:sldMk cId="2653925428" sldId="2147478874"/>
            <ac:spMk id="100" creationId="{3AF9E450-E1B4-A51A-1EE3-BE7BD3F82C50}"/>
          </ac:spMkLst>
        </pc:spChg>
        <pc:spChg chg="mod">
          <ac:chgData name="Marco Casiraghi" userId="34c8cd23-4fb6-4298-956c-4a0fecec7678" providerId="ADAL" clId="{121DDFE8-C1B3-488F-AA1B-7A2D8DFD306D}" dt="2026-01-30T01:25:13.282" v="2037" actId="20577"/>
          <ac:spMkLst>
            <pc:docMk/>
            <pc:sldMk cId="2653925428" sldId="2147478874"/>
            <ac:spMk id="101" creationId="{0B5338D9-4BB6-341E-6CCF-5122606EE25A}"/>
          </ac:spMkLst>
        </pc:spChg>
        <pc:spChg chg="mod">
          <ac:chgData name="Marco Casiraghi" userId="34c8cd23-4fb6-4298-956c-4a0fecec7678" providerId="ADAL" clId="{121DDFE8-C1B3-488F-AA1B-7A2D8DFD306D}" dt="2026-01-30T01:25:13.285" v="2039" actId="20577"/>
          <ac:spMkLst>
            <pc:docMk/>
            <pc:sldMk cId="2653925428" sldId="2147478874"/>
            <ac:spMk id="102" creationId="{6FC09ACC-8598-B14D-603D-107773774E8F}"/>
          </ac:spMkLst>
        </pc:spChg>
        <pc:spChg chg="mod">
          <ac:chgData name="Marco Casiraghi" userId="34c8cd23-4fb6-4298-956c-4a0fecec7678" providerId="ADAL" clId="{121DDFE8-C1B3-488F-AA1B-7A2D8DFD306D}" dt="2026-01-30T01:25:13.267" v="2027" actId="20577"/>
          <ac:spMkLst>
            <pc:docMk/>
            <pc:sldMk cId="2653925428" sldId="2147478874"/>
            <ac:spMk id="103" creationId="{4686C32C-63B6-0B68-42EA-56897427B3E2}"/>
          </ac:spMkLst>
        </pc:spChg>
        <pc:spChg chg="mod">
          <ac:chgData name="Marco Casiraghi" userId="34c8cd23-4fb6-4298-956c-4a0fecec7678" providerId="ADAL" clId="{121DDFE8-C1B3-488F-AA1B-7A2D8DFD306D}" dt="2026-01-30T01:25:13.269" v="2029" actId="20577"/>
          <ac:spMkLst>
            <pc:docMk/>
            <pc:sldMk cId="2653925428" sldId="2147478874"/>
            <ac:spMk id="104" creationId="{CDACDB0D-6930-6342-7298-B2E769CCF0E6}"/>
          </ac:spMkLst>
        </pc:spChg>
        <pc:spChg chg="mod">
          <ac:chgData name="Marco Casiraghi" userId="34c8cd23-4fb6-4298-956c-4a0fecec7678" providerId="ADAL" clId="{121DDFE8-C1B3-488F-AA1B-7A2D8DFD306D}" dt="2026-01-30T01:25:13.258" v="2017" actId="20577"/>
          <ac:spMkLst>
            <pc:docMk/>
            <pc:sldMk cId="2653925428" sldId="2147478874"/>
            <ac:spMk id="105" creationId="{83AF66A4-A2BB-7188-57BC-6AA02B95F7BE}"/>
          </ac:spMkLst>
        </pc:spChg>
        <pc:spChg chg="mod">
          <ac:chgData name="Marco Casiraghi" userId="34c8cd23-4fb6-4298-956c-4a0fecec7678" providerId="ADAL" clId="{121DDFE8-C1B3-488F-AA1B-7A2D8DFD306D}" dt="2026-01-30T01:25:13.260" v="2019" actId="20577"/>
          <ac:spMkLst>
            <pc:docMk/>
            <pc:sldMk cId="2653925428" sldId="2147478874"/>
            <ac:spMk id="106" creationId="{978EA7B3-BA95-3F3C-5A3F-4AF8013F2846}"/>
          </ac:spMkLst>
        </pc:spChg>
        <pc:spChg chg="mod">
          <ac:chgData name="Marco Casiraghi" userId="34c8cd23-4fb6-4298-956c-4a0fecec7678" providerId="ADAL" clId="{121DDFE8-C1B3-488F-AA1B-7A2D8DFD306D}" dt="2026-01-30T01:39:55.628" v="2341" actId="20577"/>
          <ac:spMkLst>
            <pc:docMk/>
            <pc:sldMk cId="2653925428" sldId="2147478874"/>
            <ac:spMk id="107" creationId="{ACF3B710-EE37-917B-6E6D-393AE0A55657}"/>
          </ac:spMkLst>
        </pc:spChg>
        <pc:spChg chg="mod">
          <ac:chgData name="Marco Casiraghi" userId="34c8cd23-4fb6-4298-956c-4a0fecec7678" providerId="ADAL" clId="{121DDFE8-C1B3-488F-AA1B-7A2D8DFD306D}" dt="2026-01-30T01:25:25.227" v="2100" actId="20577"/>
          <ac:spMkLst>
            <pc:docMk/>
            <pc:sldMk cId="2653925428" sldId="2147478874"/>
            <ac:spMk id="211" creationId="{6D1C2E4E-7B49-639A-59EA-EDF81C3C32FD}"/>
          </ac:spMkLst>
        </pc:spChg>
        <pc:spChg chg="mod">
          <ac:chgData name="Marco Casiraghi" userId="34c8cd23-4fb6-4298-956c-4a0fecec7678" providerId="ADAL" clId="{121DDFE8-C1B3-488F-AA1B-7A2D8DFD306D}" dt="2026-01-30T01:44:38.713" v="2438" actId="20577"/>
          <ac:spMkLst>
            <pc:docMk/>
            <pc:sldMk cId="2653925428" sldId="2147478874"/>
            <ac:spMk id="213" creationId="{E9C7FA40-C905-F7B3-7974-7C5FDEC323E7}"/>
          </ac:spMkLst>
        </pc:spChg>
        <pc:spChg chg="mod">
          <ac:chgData name="Marco Casiraghi" userId="34c8cd23-4fb6-4298-956c-4a0fecec7678" providerId="ADAL" clId="{121DDFE8-C1B3-488F-AA1B-7A2D8DFD306D}" dt="2026-01-30T01:25:13.224" v="1983" actId="20577"/>
          <ac:spMkLst>
            <pc:docMk/>
            <pc:sldMk cId="2653925428" sldId="2147478874"/>
            <ac:spMk id="214" creationId="{ADA63CEC-C444-D82F-DB17-F2A3D6A345C0}"/>
          </ac:spMkLst>
        </pc:spChg>
        <pc:spChg chg="mod">
          <ac:chgData name="Marco Casiraghi" userId="34c8cd23-4fb6-4298-956c-4a0fecec7678" providerId="ADAL" clId="{121DDFE8-C1B3-488F-AA1B-7A2D8DFD306D}" dt="2026-01-30T01:25:13.234" v="1993" actId="20577"/>
          <ac:spMkLst>
            <pc:docMk/>
            <pc:sldMk cId="2653925428" sldId="2147478874"/>
            <ac:spMk id="215" creationId="{229A3036-F3AC-E586-1624-3032288FDA78}"/>
          </ac:spMkLst>
        </pc:spChg>
        <pc:spChg chg="mod">
          <ac:chgData name="Marco Casiraghi" userId="34c8cd23-4fb6-4298-956c-4a0fecec7678" providerId="ADAL" clId="{121DDFE8-C1B3-488F-AA1B-7A2D8DFD306D}" dt="2026-01-30T01:25:13.244" v="2003" actId="20577"/>
          <ac:spMkLst>
            <pc:docMk/>
            <pc:sldMk cId="2653925428" sldId="2147478874"/>
            <ac:spMk id="216" creationId="{C3101F6F-D2BC-636A-0E43-3B84D03A6D37}"/>
          </ac:spMkLst>
        </pc:spChg>
        <pc:spChg chg="mod">
          <ac:chgData name="Marco Casiraghi" userId="34c8cd23-4fb6-4298-956c-4a0fecec7678" providerId="ADAL" clId="{121DDFE8-C1B3-488F-AA1B-7A2D8DFD306D}" dt="2026-01-30T01:25:13.254" v="2013" actId="20577"/>
          <ac:spMkLst>
            <pc:docMk/>
            <pc:sldMk cId="2653925428" sldId="2147478874"/>
            <ac:spMk id="217" creationId="{9A0C7905-BF2C-5AA4-A250-3F4D719D5F27}"/>
          </ac:spMkLst>
        </pc:spChg>
        <pc:spChg chg="mod">
          <ac:chgData name="Marco Casiraghi" userId="34c8cd23-4fb6-4298-956c-4a0fecec7678" providerId="ADAL" clId="{121DDFE8-C1B3-488F-AA1B-7A2D8DFD306D}" dt="2026-01-30T01:25:13.348" v="2093" actId="20577"/>
          <ac:spMkLst>
            <pc:docMk/>
            <pc:sldMk cId="2653925428" sldId="2147478874"/>
            <ac:spMk id="218" creationId="{0AE61C6D-EFFF-291A-D3A0-A4CAC445413C}"/>
          </ac:spMkLst>
        </pc:spChg>
        <pc:spChg chg="mod">
          <ac:chgData name="Marco Casiraghi" userId="34c8cd23-4fb6-4298-956c-4a0fecec7678" providerId="ADAL" clId="{121DDFE8-C1B3-488F-AA1B-7A2D8DFD306D}" dt="2026-01-30T01:25:13.332" v="2083" actId="20577"/>
          <ac:spMkLst>
            <pc:docMk/>
            <pc:sldMk cId="2653925428" sldId="2147478874"/>
            <ac:spMk id="219" creationId="{75F7F1B4-2C84-3FB3-6DA8-57BE798070F2}"/>
          </ac:spMkLst>
        </pc:spChg>
        <pc:spChg chg="mod">
          <ac:chgData name="Marco Casiraghi" userId="34c8cd23-4fb6-4298-956c-4a0fecec7678" providerId="ADAL" clId="{121DDFE8-C1B3-488F-AA1B-7A2D8DFD306D}" dt="2026-01-30T01:25:13.322" v="2073" actId="20577"/>
          <ac:spMkLst>
            <pc:docMk/>
            <pc:sldMk cId="2653925428" sldId="2147478874"/>
            <ac:spMk id="220" creationId="{A275E277-54A3-F4FF-11F3-CDED4A5358FF}"/>
          </ac:spMkLst>
        </pc:spChg>
        <pc:spChg chg="mod">
          <ac:chgData name="Marco Casiraghi" userId="34c8cd23-4fb6-4298-956c-4a0fecec7678" providerId="ADAL" clId="{121DDFE8-C1B3-488F-AA1B-7A2D8DFD306D}" dt="2026-01-30T01:25:13.310" v="2063" actId="20577"/>
          <ac:spMkLst>
            <pc:docMk/>
            <pc:sldMk cId="2653925428" sldId="2147478874"/>
            <ac:spMk id="221" creationId="{3C862C69-FFA6-8DB0-6A24-850EEE91F1D6}"/>
          </ac:spMkLst>
        </pc:spChg>
        <pc:spChg chg="mod">
          <ac:chgData name="Marco Casiraghi" userId="34c8cd23-4fb6-4298-956c-4a0fecec7678" providerId="ADAL" clId="{121DDFE8-C1B3-488F-AA1B-7A2D8DFD306D}" dt="2026-01-30T01:25:13.300" v="2053" actId="20577"/>
          <ac:spMkLst>
            <pc:docMk/>
            <pc:sldMk cId="2653925428" sldId="2147478874"/>
            <ac:spMk id="222" creationId="{6785B9C3-05B3-1F74-E183-1A7F6B6C86C6}"/>
          </ac:spMkLst>
        </pc:spChg>
        <pc:spChg chg="mod">
          <ac:chgData name="Marco Casiraghi" userId="34c8cd23-4fb6-4298-956c-4a0fecec7678" providerId="ADAL" clId="{121DDFE8-C1B3-488F-AA1B-7A2D8DFD306D}" dt="2026-01-30T01:25:13.289" v="2043" actId="20577"/>
          <ac:spMkLst>
            <pc:docMk/>
            <pc:sldMk cId="2653925428" sldId="2147478874"/>
            <ac:spMk id="223" creationId="{F87D3729-BD74-2CBD-4DA2-F3991AA5AA23}"/>
          </ac:spMkLst>
        </pc:spChg>
        <pc:spChg chg="mod">
          <ac:chgData name="Marco Casiraghi" userId="34c8cd23-4fb6-4298-956c-4a0fecec7678" providerId="ADAL" clId="{121DDFE8-C1B3-488F-AA1B-7A2D8DFD306D}" dt="2026-01-30T01:25:13.275" v="2033" actId="20577"/>
          <ac:spMkLst>
            <pc:docMk/>
            <pc:sldMk cId="2653925428" sldId="2147478874"/>
            <ac:spMk id="224" creationId="{6077D4B6-6758-7315-B132-628F5CFCCFB3}"/>
          </ac:spMkLst>
        </pc:spChg>
        <pc:spChg chg="mod">
          <ac:chgData name="Marco Casiraghi" userId="34c8cd23-4fb6-4298-956c-4a0fecec7678" providerId="ADAL" clId="{121DDFE8-C1B3-488F-AA1B-7A2D8DFD306D}" dt="2026-01-30T01:25:13.264" v="2023" actId="20577"/>
          <ac:spMkLst>
            <pc:docMk/>
            <pc:sldMk cId="2653925428" sldId="2147478874"/>
            <ac:spMk id="225" creationId="{4BE4E3A5-6C54-EE1A-F7DF-C9E215A255AB}"/>
          </ac:spMkLst>
        </pc:spChg>
        <pc:spChg chg="mod">
          <ac:chgData name="Marco Casiraghi" userId="34c8cd23-4fb6-4298-956c-4a0fecec7678" providerId="ADAL" clId="{121DDFE8-C1B3-488F-AA1B-7A2D8DFD306D}" dt="2026-01-30T01:25:13.184" v="1951" actId="20577"/>
          <ac:spMkLst>
            <pc:docMk/>
            <pc:sldMk cId="2653925428" sldId="2147478874"/>
            <ac:spMk id="226" creationId="{20CE0E70-3191-D37B-7756-4B7A4031DD18}"/>
          </ac:spMkLst>
        </pc:spChg>
        <pc:spChg chg="mod">
          <ac:chgData name="Marco Casiraghi" userId="34c8cd23-4fb6-4298-956c-4a0fecec7678" providerId="ADAL" clId="{121DDFE8-C1B3-488F-AA1B-7A2D8DFD306D}" dt="2026-01-30T01:25:13.199" v="1961" actId="20577"/>
          <ac:spMkLst>
            <pc:docMk/>
            <pc:sldMk cId="2653925428" sldId="2147478874"/>
            <ac:spMk id="227" creationId="{43118324-EA62-FE4C-F348-A4C0B903BC04}"/>
          </ac:spMkLst>
        </pc:spChg>
        <pc:spChg chg="mod">
          <ac:chgData name="Marco Casiraghi" userId="34c8cd23-4fb6-4298-956c-4a0fecec7678" providerId="ADAL" clId="{121DDFE8-C1B3-488F-AA1B-7A2D8DFD306D}" dt="2026-01-30T01:44:36.202" v="2437" actId="20577"/>
          <ac:spMkLst>
            <pc:docMk/>
            <pc:sldMk cId="2653925428" sldId="2147478874"/>
            <ac:spMk id="228" creationId="{E632F427-4D20-437C-845F-4E1DD36BE170}"/>
          </ac:spMkLst>
        </pc:spChg>
        <pc:spChg chg="mod">
          <ac:chgData name="Marco Casiraghi" userId="34c8cd23-4fb6-4298-956c-4a0fecec7678" providerId="ADAL" clId="{121DDFE8-C1B3-488F-AA1B-7A2D8DFD306D}" dt="2026-01-30T01:25:13.223" v="1981" actId="20577"/>
          <ac:spMkLst>
            <pc:docMk/>
            <pc:sldMk cId="2653925428" sldId="2147478874"/>
            <ac:spMk id="229" creationId="{EBE9EC30-1404-E8D6-0D32-0D3B37D6AA3D}"/>
          </ac:spMkLst>
        </pc:spChg>
        <pc:spChg chg="mod">
          <ac:chgData name="Marco Casiraghi" userId="34c8cd23-4fb6-4298-956c-4a0fecec7678" providerId="ADAL" clId="{121DDFE8-C1B3-488F-AA1B-7A2D8DFD306D}" dt="2026-01-30T01:25:13.232" v="1991" actId="20577"/>
          <ac:spMkLst>
            <pc:docMk/>
            <pc:sldMk cId="2653925428" sldId="2147478874"/>
            <ac:spMk id="230" creationId="{EB85A761-1DDE-ECCF-5201-AC68FEC269D9}"/>
          </ac:spMkLst>
        </pc:spChg>
        <pc:spChg chg="mod">
          <ac:chgData name="Marco Casiraghi" userId="34c8cd23-4fb6-4298-956c-4a0fecec7678" providerId="ADAL" clId="{121DDFE8-C1B3-488F-AA1B-7A2D8DFD306D}" dt="2026-01-30T01:25:13.242" v="2001" actId="20577"/>
          <ac:spMkLst>
            <pc:docMk/>
            <pc:sldMk cId="2653925428" sldId="2147478874"/>
            <ac:spMk id="231" creationId="{B7D03DF2-2BE0-DAC2-6E80-40B5DE294A2A}"/>
          </ac:spMkLst>
        </pc:spChg>
        <pc:spChg chg="mod">
          <ac:chgData name="Marco Casiraghi" userId="34c8cd23-4fb6-4298-956c-4a0fecec7678" providerId="ADAL" clId="{121DDFE8-C1B3-488F-AA1B-7A2D8DFD306D}" dt="2026-01-30T01:25:13.252" v="2011" actId="20577"/>
          <ac:spMkLst>
            <pc:docMk/>
            <pc:sldMk cId="2653925428" sldId="2147478874"/>
            <ac:spMk id="232" creationId="{FBC0F2DC-1F2A-C153-EA8F-9DEC560D8B51}"/>
          </ac:spMkLst>
        </pc:spChg>
        <pc:spChg chg="mod">
          <ac:chgData name="Marco Casiraghi" userId="34c8cd23-4fb6-4298-956c-4a0fecec7678" providerId="ADAL" clId="{121DDFE8-C1B3-488F-AA1B-7A2D8DFD306D}" dt="2026-01-30T01:25:13.345" v="2091" actId="20577"/>
          <ac:spMkLst>
            <pc:docMk/>
            <pc:sldMk cId="2653925428" sldId="2147478874"/>
            <ac:spMk id="233" creationId="{16051CBE-81FA-7149-59FC-3741ED19C2C4}"/>
          </ac:spMkLst>
        </pc:spChg>
        <pc:spChg chg="mod">
          <ac:chgData name="Marco Casiraghi" userId="34c8cd23-4fb6-4298-956c-4a0fecec7678" providerId="ADAL" clId="{121DDFE8-C1B3-488F-AA1B-7A2D8DFD306D}" dt="2026-01-30T01:25:13.330" v="2081" actId="20577"/>
          <ac:spMkLst>
            <pc:docMk/>
            <pc:sldMk cId="2653925428" sldId="2147478874"/>
            <ac:spMk id="234" creationId="{2330B26E-CC8F-3C70-64E0-98434A72FE8B}"/>
          </ac:spMkLst>
        </pc:spChg>
        <pc:spChg chg="mod">
          <ac:chgData name="Marco Casiraghi" userId="34c8cd23-4fb6-4298-956c-4a0fecec7678" providerId="ADAL" clId="{121DDFE8-C1B3-488F-AA1B-7A2D8DFD306D}" dt="2026-01-30T01:25:13.320" v="2071" actId="20577"/>
          <ac:spMkLst>
            <pc:docMk/>
            <pc:sldMk cId="2653925428" sldId="2147478874"/>
            <ac:spMk id="235" creationId="{56F76BFB-9AA0-BE43-B469-1397D114DA73}"/>
          </ac:spMkLst>
        </pc:spChg>
        <pc:spChg chg="mod">
          <ac:chgData name="Marco Casiraghi" userId="34c8cd23-4fb6-4298-956c-4a0fecec7678" providerId="ADAL" clId="{121DDFE8-C1B3-488F-AA1B-7A2D8DFD306D}" dt="2026-01-30T01:25:13.308" v="2061" actId="20577"/>
          <ac:spMkLst>
            <pc:docMk/>
            <pc:sldMk cId="2653925428" sldId="2147478874"/>
            <ac:spMk id="236" creationId="{6253B8A8-4149-E2EF-06AE-84251DEC929B}"/>
          </ac:spMkLst>
        </pc:spChg>
        <pc:spChg chg="mod">
          <ac:chgData name="Marco Casiraghi" userId="34c8cd23-4fb6-4298-956c-4a0fecec7678" providerId="ADAL" clId="{121DDFE8-C1B3-488F-AA1B-7A2D8DFD306D}" dt="2026-01-30T01:25:13.298" v="2051" actId="20577"/>
          <ac:spMkLst>
            <pc:docMk/>
            <pc:sldMk cId="2653925428" sldId="2147478874"/>
            <ac:spMk id="237" creationId="{5F75245E-CEBD-D684-2701-B572DCAAE70E}"/>
          </ac:spMkLst>
        </pc:spChg>
        <pc:spChg chg="mod">
          <ac:chgData name="Marco Casiraghi" userId="34c8cd23-4fb6-4298-956c-4a0fecec7678" providerId="ADAL" clId="{121DDFE8-C1B3-488F-AA1B-7A2D8DFD306D}" dt="2026-01-30T01:25:13.287" v="2041" actId="20577"/>
          <ac:spMkLst>
            <pc:docMk/>
            <pc:sldMk cId="2653925428" sldId="2147478874"/>
            <ac:spMk id="238" creationId="{FC505FC2-A549-C3E6-715D-CA1ADE1F8EA0}"/>
          </ac:spMkLst>
        </pc:spChg>
        <pc:spChg chg="mod">
          <ac:chgData name="Marco Casiraghi" userId="34c8cd23-4fb6-4298-956c-4a0fecec7678" providerId="ADAL" clId="{121DDFE8-C1B3-488F-AA1B-7A2D8DFD306D}" dt="2026-01-30T01:25:13.271" v="2031" actId="20577"/>
          <ac:spMkLst>
            <pc:docMk/>
            <pc:sldMk cId="2653925428" sldId="2147478874"/>
            <ac:spMk id="239" creationId="{52D350BF-D6DA-9200-61A8-90D36009269A}"/>
          </ac:spMkLst>
        </pc:spChg>
        <pc:spChg chg="mod">
          <ac:chgData name="Marco Casiraghi" userId="34c8cd23-4fb6-4298-956c-4a0fecec7678" providerId="ADAL" clId="{121DDFE8-C1B3-488F-AA1B-7A2D8DFD306D}" dt="2026-01-30T01:25:13.262" v="2021" actId="20577"/>
          <ac:spMkLst>
            <pc:docMk/>
            <pc:sldMk cId="2653925428" sldId="2147478874"/>
            <ac:spMk id="240" creationId="{F06F2C12-2D03-B17D-1F27-69B0477011C3}"/>
          </ac:spMkLst>
        </pc:spChg>
        <pc:spChg chg="mod">
          <ac:chgData name="Marco Casiraghi" userId="34c8cd23-4fb6-4298-956c-4a0fecec7678" providerId="ADAL" clId="{121DDFE8-C1B3-488F-AA1B-7A2D8DFD306D}" dt="2026-01-30T01:25:13.190" v="1955" actId="20577"/>
          <ac:spMkLst>
            <pc:docMk/>
            <pc:sldMk cId="2653925428" sldId="2147478874"/>
            <ac:spMk id="241" creationId="{FE7C8680-5B71-B40E-787F-E007EE37C3E2}"/>
          </ac:spMkLst>
        </pc:spChg>
        <pc:spChg chg="mod">
          <ac:chgData name="Marco Casiraghi" userId="34c8cd23-4fb6-4298-956c-4a0fecec7678" providerId="ADAL" clId="{121DDFE8-C1B3-488F-AA1B-7A2D8DFD306D}" dt="2026-01-30T01:25:13.205" v="1965" actId="20577"/>
          <ac:spMkLst>
            <pc:docMk/>
            <pc:sldMk cId="2653925428" sldId="2147478874"/>
            <ac:spMk id="242" creationId="{629E4EAC-3FA7-BC6B-90C8-F08171FFFC05}"/>
          </ac:spMkLst>
        </pc:spChg>
        <pc:spChg chg="mod">
          <ac:chgData name="Marco Casiraghi" userId="34c8cd23-4fb6-4298-956c-4a0fecec7678" providerId="ADAL" clId="{121DDFE8-C1B3-488F-AA1B-7A2D8DFD306D}" dt="2026-01-30T01:25:13.217" v="1975" actId="20577"/>
          <ac:spMkLst>
            <pc:docMk/>
            <pc:sldMk cId="2653925428" sldId="2147478874"/>
            <ac:spMk id="243" creationId="{F43E9F2E-CE45-CD77-B48C-CD6EE75DD7C1}"/>
          </ac:spMkLst>
        </pc:spChg>
        <pc:spChg chg="mod">
          <ac:chgData name="Marco Casiraghi" userId="34c8cd23-4fb6-4298-956c-4a0fecec7678" providerId="ADAL" clId="{121DDFE8-C1B3-488F-AA1B-7A2D8DFD306D}" dt="2026-01-30T01:25:13.226" v="1985" actId="20577"/>
          <ac:spMkLst>
            <pc:docMk/>
            <pc:sldMk cId="2653925428" sldId="2147478874"/>
            <ac:spMk id="244" creationId="{6F5E9F26-B3ED-D2FF-47EA-80F8732E8F5B}"/>
          </ac:spMkLst>
        </pc:spChg>
        <pc:spChg chg="mod">
          <ac:chgData name="Marco Casiraghi" userId="34c8cd23-4fb6-4298-956c-4a0fecec7678" providerId="ADAL" clId="{121DDFE8-C1B3-488F-AA1B-7A2D8DFD306D}" dt="2026-01-30T01:25:13.236" v="1995" actId="20577"/>
          <ac:spMkLst>
            <pc:docMk/>
            <pc:sldMk cId="2653925428" sldId="2147478874"/>
            <ac:spMk id="245" creationId="{6AF90463-E472-E201-4EF5-2AE66204207B}"/>
          </ac:spMkLst>
        </pc:spChg>
        <pc:spChg chg="mod">
          <ac:chgData name="Marco Casiraghi" userId="34c8cd23-4fb6-4298-956c-4a0fecec7678" providerId="ADAL" clId="{121DDFE8-C1B3-488F-AA1B-7A2D8DFD306D}" dt="2026-01-30T01:25:13.246" v="2005" actId="20577"/>
          <ac:spMkLst>
            <pc:docMk/>
            <pc:sldMk cId="2653925428" sldId="2147478874"/>
            <ac:spMk id="246" creationId="{4D928742-D713-0AF7-A533-97BAB527FF3E}"/>
          </ac:spMkLst>
        </pc:spChg>
        <pc:spChg chg="mod">
          <ac:chgData name="Marco Casiraghi" userId="34c8cd23-4fb6-4298-956c-4a0fecec7678" providerId="ADAL" clId="{121DDFE8-C1B3-488F-AA1B-7A2D8DFD306D}" dt="2026-01-30T01:25:13.256" v="2015" actId="20577"/>
          <ac:spMkLst>
            <pc:docMk/>
            <pc:sldMk cId="2653925428" sldId="2147478874"/>
            <ac:spMk id="247" creationId="{CD88B2E0-2C0E-8A38-4469-1137A3B6AD0E}"/>
          </ac:spMkLst>
        </pc:spChg>
        <pc:spChg chg="mod">
          <ac:chgData name="Marco Casiraghi" userId="34c8cd23-4fb6-4298-956c-4a0fecec7678" providerId="ADAL" clId="{121DDFE8-C1B3-488F-AA1B-7A2D8DFD306D}" dt="2026-01-30T01:25:13.351" v="2095" actId="20577"/>
          <ac:spMkLst>
            <pc:docMk/>
            <pc:sldMk cId="2653925428" sldId="2147478874"/>
            <ac:spMk id="248" creationId="{404AF2B2-71A0-4E44-AEAA-AE47C3B5BBB1}"/>
          </ac:spMkLst>
        </pc:spChg>
        <pc:spChg chg="mod">
          <ac:chgData name="Marco Casiraghi" userId="34c8cd23-4fb6-4298-956c-4a0fecec7678" providerId="ADAL" clId="{121DDFE8-C1B3-488F-AA1B-7A2D8DFD306D}" dt="2026-01-30T01:25:13.335" v="2085" actId="20577"/>
          <ac:spMkLst>
            <pc:docMk/>
            <pc:sldMk cId="2653925428" sldId="2147478874"/>
            <ac:spMk id="249" creationId="{B30DE943-63AF-028B-AE12-7E0AF3993E03}"/>
          </ac:spMkLst>
        </pc:spChg>
        <pc:spChg chg="mod">
          <ac:chgData name="Marco Casiraghi" userId="34c8cd23-4fb6-4298-956c-4a0fecec7678" providerId="ADAL" clId="{121DDFE8-C1B3-488F-AA1B-7A2D8DFD306D}" dt="2026-01-30T01:25:13.324" v="2075" actId="20577"/>
          <ac:spMkLst>
            <pc:docMk/>
            <pc:sldMk cId="2653925428" sldId="2147478874"/>
            <ac:spMk id="250" creationId="{8E4E7BA1-51C9-A4EC-2BAA-DEC7B78CD71B}"/>
          </ac:spMkLst>
        </pc:spChg>
        <pc:spChg chg="mod">
          <ac:chgData name="Marco Casiraghi" userId="34c8cd23-4fb6-4298-956c-4a0fecec7678" providerId="ADAL" clId="{121DDFE8-C1B3-488F-AA1B-7A2D8DFD306D}" dt="2026-01-30T01:25:13.311" v="2065" actId="20577"/>
          <ac:spMkLst>
            <pc:docMk/>
            <pc:sldMk cId="2653925428" sldId="2147478874"/>
            <ac:spMk id="251" creationId="{E0F4ECDF-34CD-C7CC-674F-2A04DA07BBB8}"/>
          </ac:spMkLst>
        </pc:spChg>
        <pc:spChg chg="mod">
          <ac:chgData name="Marco Casiraghi" userId="34c8cd23-4fb6-4298-956c-4a0fecec7678" providerId="ADAL" clId="{121DDFE8-C1B3-488F-AA1B-7A2D8DFD306D}" dt="2026-01-30T01:25:13.301" v="2055" actId="20577"/>
          <ac:spMkLst>
            <pc:docMk/>
            <pc:sldMk cId="2653925428" sldId="2147478874"/>
            <ac:spMk id="252" creationId="{4FCB9F5D-5506-5C0A-9D7A-9EF9C55A548B}"/>
          </ac:spMkLst>
        </pc:spChg>
        <pc:spChg chg="mod">
          <ac:chgData name="Marco Casiraghi" userId="34c8cd23-4fb6-4298-956c-4a0fecec7678" providerId="ADAL" clId="{121DDFE8-C1B3-488F-AA1B-7A2D8DFD306D}" dt="2026-01-30T01:25:13.291" v="2045" actId="20577"/>
          <ac:spMkLst>
            <pc:docMk/>
            <pc:sldMk cId="2653925428" sldId="2147478874"/>
            <ac:spMk id="253" creationId="{354B306D-DFD7-D248-7B42-1B3C2438D1F7}"/>
          </ac:spMkLst>
        </pc:spChg>
        <pc:spChg chg="mod">
          <ac:chgData name="Marco Casiraghi" userId="34c8cd23-4fb6-4298-956c-4a0fecec7678" providerId="ADAL" clId="{121DDFE8-C1B3-488F-AA1B-7A2D8DFD306D}" dt="2026-01-30T01:25:13.278" v="2035" actId="20577"/>
          <ac:spMkLst>
            <pc:docMk/>
            <pc:sldMk cId="2653925428" sldId="2147478874"/>
            <ac:spMk id="254" creationId="{4A4AA631-DC7B-3ACA-3237-FE776AB8D3A8}"/>
          </ac:spMkLst>
        </pc:spChg>
        <pc:spChg chg="mod">
          <ac:chgData name="Marco Casiraghi" userId="34c8cd23-4fb6-4298-956c-4a0fecec7678" providerId="ADAL" clId="{121DDFE8-C1B3-488F-AA1B-7A2D8DFD306D}" dt="2026-01-30T01:25:13.266" v="2025" actId="20577"/>
          <ac:spMkLst>
            <pc:docMk/>
            <pc:sldMk cId="2653925428" sldId="2147478874"/>
            <ac:spMk id="255" creationId="{8B194C1E-FC6E-83E9-F44B-B196C206B787}"/>
          </ac:spMkLst>
        </pc:spChg>
        <pc:spChg chg="mod">
          <ac:chgData name="Marco Casiraghi" userId="34c8cd23-4fb6-4298-956c-4a0fecec7678" providerId="ADAL" clId="{121DDFE8-C1B3-488F-AA1B-7A2D8DFD306D}" dt="2026-01-30T01:25:03.150" v="1921" actId="948"/>
          <ac:spMkLst>
            <pc:docMk/>
            <pc:sldMk cId="2653925428" sldId="2147478874"/>
            <ac:spMk id="273" creationId="{424EFAE7-2D6F-FF09-9D92-C132D54992EB}"/>
          </ac:spMkLst>
        </pc:spChg>
        <pc:graphicFrameChg chg="mod">
          <ac:chgData name="Marco Casiraghi" userId="34c8cd23-4fb6-4298-956c-4a0fecec7678" providerId="ADAL" clId="{121DDFE8-C1B3-488F-AA1B-7A2D8DFD306D}" dt="2026-01-30T01:25:13.369" v="2097"/>
          <ac:graphicFrameMkLst>
            <pc:docMk/>
            <pc:sldMk cId="2653925428" sldId="2147478874"/>
            <ac:graphicFrameMk id="212" creationId="{D061BBC0-193E-2197-E30F-179A19D16FEB}"/>
          </ac:graphicFrameMkLst>
        </pc:graphicFrameChg>
      </pc:sldChg>
      <pc:sldChg chg="modSp add del">
        <pc:chgData name="Marco Casiraghi" userId="34c8cd23-4fb6-4298-956c-4a0fecec7678" providerId="ADAL" clId="{121DDFE8-C1B3-488F-AA1B-7A2D8DFD306D}" dt="2026-01-30T01:27:50.476" v="2299" actId="47"/>
        <pc:sldMkLst>
          <pc:docMk/>
          <pc:sldMk cId="2422545262" sldId="2147478875"/>
        </pc:sldMkLst>
        <pc:graphicFrameChg chg="mod">
          <ac:chgData name="Marco Casiraghi" userId="34c8cd23-4fb6-4298-956c-4a0fecec7678" providerId="ADAL" clId="{121DDFE8-C1B3-488F-AA1B-7A2D8DFD306D}" dt="2026-01-30T01:26:59.794" v="2107"/>
          <ac:graphicFrameMkLst>
            <pc:docMk/>
            <pc:sldMk cId="2422545262" sldId="2147478875"/>
            <ac:graphicFrameMk id="212" creationId="{21A4E332-DD5D-6B74-3162-12830E589D0A}"/>
          </ac:graphicFrameMkLst>
        </pc:graphicFrameChg>
      </pc:sldChg>
      <pc:sldChg chg="addSp delSp modSp add mod">
        <pc:chgData name="Marco Casiraghi" userId="34c8cd23-4fb6-4298-956c-4a0fecec7678" providerId="ADAL" clId="{121DDFE8-C1B3-488F-AA1B-7A2D8DFD306D}" dt="2026-01-30T01:27:47.549" v="2298" actId="20577"/>
        <pc:sldMkLst>
          <pc:docMk/>
          <pc:sldMk cId="1536178990" sldId="2147478876"/>
        </pc:sldMkLst>
        <pc:spChg chg="add del mod modVis">
          <ac:chgData name="Marco Casiraghi" userId="34c8cd23-4fb6-4298-956c-4a0fecec7678" providerId="ADAL" clId="{121DDFE8-C1B3-488F-AA1B-7A2D8DFD306D}" dt="2026-01-30T01:27:17.021" v="2135"/>
          <ac:spMkLst>
            <pc:docMk/>
            <pc:sldMk cId="1536178990" sldId="2147478876"/>
            <ac:spMk id="2" creationId="{CF372757-ED31-F63B-8EB3-CC3D5F6BB40C}"/>
          </ac:spMkLst>
        </pc:spChg>
        <pc:spChg chg="add mod">
          <ac:chgData name="Marco Casiraghi" userId="34c8cd23-4fb6-4298-956c-4a0fecec7678" providerId="ADAL" clId="{121DDFE8-C1B3-488F-AA1B-7A2D8DFD306D}" dt="2026-01-30T01:27:20.730" v="2139"/>
          <ac:spMkLst>
            <pc:docMk/>
            <pc:sldMk cId="1536178990" sldId="2147478876"/>
            <ac:spMk id="3" creationId="{415F2184-4233-18DB-E654-7835B61DFD88}"/>
          </ac:spMkLst>
        </pc:spChg>
        <pc:spChg chg="mod">
          <ac:chgData name="Marco Casiraghi" userId="34c8cd23-4fb6-4298-956c-4a0fecec7678" providerId="ADAL" clId="{121DDFE8-C1B3-488F-AA1B-7A2D8DFD306D}" dt="2026-01-30T01:27:29.047" v="2141" actId="20577"/>
          <ac:spMkLst>
            <pc:docMk/>
            <pc:sldMk cId="1536178990" sldId="2147478876"/>
            <ac:spMk id="77" creationId="{BEB2F89C-7599-8FE4-306C-07BFFF439AD3}"/>
          </ac:spMkLst>
        </pc:spChg>
        <pc:spChg chg="mod">
          <ac:chgData name="Marco Casiraghi" userId="34c8cd23-4fb6-4298-956c-4a0fecec7678" providerId="ADAL" clId="{121DDFE8-C1B3-488F-AA1B-7A2D8DFD306D}" dt="2026-01-30T01:27:29.050" v="2143" actId="20577"/>
          <ac:spMkLst>
            <pc:docMk/>
            <pc:sldMk cId="1536178990" sldId="2147478876"/>
            <ac:spMk id="78" creationId="{DF017F26-0431-9719-E402-BF50C751576D}"/>
          </ac:spMkLst>
        </pc:spChg>
        <pc:spChg chg="mod">
          <ac:chgData name="Marco Casiraghi" userId="34c8cd23-4fb6-4298-956c-4a0fecec7678" providerId="ADAL" clId="{121DDFE8-C1B3-488F-AA1B-7A2D8DFD306D}" dt="2026-01-30T01:27:29.059" v="2151" actId="20577"/>
          <ac:spMkLst>
            <pc:docMk/>
            <pc:sldMk cId="1536178990" sldId="2147478876"/>
            <ac:spMk id="79" creationId="{8AB269BD-5FFC-E9CF-297F-AF9612AF2F9A}"/>
          </ac:spMkLst>
        </pc:spChg>
        <pc:spChg chg="mod">
          <ac:chgData name="Marco Casiraghi" userId="34c8cd23-4fb6-4298-956c-4a0fecec7678" providerId="ADAL" clId="{121DDFE8-C1B3-488F-AA1B-7A2D8DFD306D}" dt="2026-01-30T01:27:29.061" v="2153" actId="20577"/>
          <ac:spMkLst>
            <pc:docMk/>
            <pc:sldMk cId="1536178990" sldId="2147478876"/>
            <ac:spMk id="80" creationId="{D6F3E2FB-8856-D603-8C6C-2E87A8EAF6C4}"/>
          </ac:spMkLst>
        </pc:spChg>
        <pc:spChg chg="mod">
          <ac:chgData name="Marco Casiraghi" userId="34c8cd23-4fb6-4298-956c-4a0fecec7678" providerId="ADAL" clId="{121DDFE8-C1B3-488F-AA1B-7A2D8DFD306D}" dt="2026-01-30T01:27:29.068" v="2161" actId="20577"/>
          <ac:spMkLst>
            <pc:docMk/>
            <pc:sldMk cId="1536178990" sldId="2147478876"/>
            <ac:spMk id="81" creationId="{57D47A0C-52B2-8F1C-6B24-3F88519A0874}"/>
          </ac:spMkLst>
        </pc:spChg>
        <pc:spChg chg="mod">
          <ac:chgData name="Marco Casiraghi" userId="34c8cd23-4fb6-4298-956c-4a0fecec7678" providerId="ADAL" clId="{121DDFE8-C1B3-488F-AA1B-7A2D8DFD306D}" dt="2026-01-30T01:27:29.070" v="2163" actId="20577"/>
          <ac:spMkLst>
            <pc:docMk/>
            <pc:sldMk cId="1536178990" sldId="2147478876"/>
            <ac:spMk id="82" creationId="{185E47F6-EB4E-A8FB-8A88-BAF715ECB6C7}"/>
          </ac:spMkLst>
        </pc:spChg>
        <pc:spChg chg="mod">
          <ac:chgData name="Marco Casiraghi" userId="34c8cd23-4fb6-4298-956c-4a0fecec7678" providerId="ADAL" clId="{121DDFE8-C1B3-488F-AA1B-7A2D8DFD306D}" dt="2026-01-30T01:27:29.078" v="2171" actId="20577"/>
          <ac:spMkLst>
            <pc:docMk/>
            <pc:sldMk cId="1536178990" sldId="2147478876"/>
            <ac:spMk id="83" creationId="{16D4BB8E-E325-47D4-08CB-48C6E8B76C8A}"/>
          </ac:spMkLst>
        </pc:spChg>
        <pc:spChg chg="mod">
          <ac:chgData name="Marco Casiraghi" userId="34c8cd23-4fb6-4298-956c-4a0fecec7678" providerId="ADAL" clId="{121DDFE8-C1B3-488F-AA1B-7A2D8DFD306D}" dt="2026-01-30T01:27:29.080" v="2173" actId="20577"/>
          <ac:spMkLst>
            <pc:docMk/>
            <pc:sldMk cId="1536178990" sldId="2147478876"/>
            <ac:spMk id="84" creationId="{BB9DB9E0-D08F-B740-5B53-FA0CD264DA96}"/>
          </ac:spMkLst>
        </pc:spChg>
        <pc:spChg chg="mod">
          <ac:chgData name="Marco Casiraghi" userId="34c8cd23-4fb6-4298-956c-4a0fecec7678" providerId="ADAL" clId="{121DDFE8-C1B3-488F-AA1B-7A2D8DFD306D}" dt="2026-01-30T01:27:29.088" v="2181" actId="20577"/>
          <ac:spMkLst>
            <pc:docMk/>
            <pc:sldMk cId="1536178990" sldId="2147478876"/>
            <ac:spMk id="85" creationId="{1D16C168-78D5-25D1-052D-31A5F7F60EE8}"/>
          </ac:spMkLst>
        </pc:spChg>
        <pc:spChg chg="mod">
          <ac:chgData name="Marco Casiraghi" userId="34c8cd23-4fb6-4298-956c-4a0fecec7678" providerId="ADAL" clId="{121DDFE8-C1B3-488F-AA1B-7A2D8DFD306D}" dt="2026-01-30T01:27:29.091" v="2183" actId="20577"/>
          <ac:spMkLst>
            <pc:docMk/>
            <pc:sldMk cId="1536178990" sldId="2147478876"/>
            <ac:spMk id="86" creationId="{E94D9B4A-AD85-2C65-2361-D05A294B2372}"/>
          </ac:spMkLst>
        </pc:spChg>
        <pc:spChg chg="mod">
          <ac:chgData name="Marco Casiraghi" userId="34c8cd23-4fb6-4298-956c-4a0fecec7678" providerId="ADAL" clId="{121DDFE8-C1B3-488F-AA1B-7A2D8DFD306D}" dt="2026-01-30T01:27:29.101" v="2191" actId="20577"/>
          <ac:spMkLst>
            <pc:docMk/>
            <pc:sldMk cId="1536178990" sldId="2147478876"/>
            <ac:spMk id="87" creationId="{D845A80F-12A8-D3FA-0FB5-426BDFA7DAA6}"/>
          </ac:spMkLst>
        </pc:spChg>
        <pc:spChg chg="mod">
          <ac:chgData name="Marco Casiraghi" userId="34c8cd23-4fb6-4298-956c-4a0fecec7678" providerId="ADAL" clId="{121DDFE8-C1B3-488F-AA1B-7A2D8DFD306D}" dt="2026-01-30T01:27:29.103" v="2193" actId="20577"/>
          <ac:spMkLst>
            <pc:docMk/>
            <pc:sldMk cId="1536178990" sldId="2147478876"/>
            <ac:spMk id="88" creationId="{ECB4B91C-270C-CD6A-BE4E-F083434BDC47}"/>
          </ac:spMkLst>
        </pc:spChg>
        <pc:spChg chg="mod">
          <ac:chgData name="Marco Casiraghi" userId="34c8cd23-4fb6-4298-956c-4a0fecec7678" providerId="ADAL" clId="{121DDFE8-C1B3-488F-AA1B-7A2D8DFD306D}" dt="2026-01-30T01:27:29.114" v="2201" actId="20577"/>
          <ac:spMkLst>
            <pc:docMk/>
            <pc:sldMk cId="1536178990" sldId="2147478876"/>
            <ac:spMk id="89" creationId="{A1966CFE-F669-798B-7B4F-CCABE79B9ED0}"/>
          </ac:spMkLst>
        </pc:spChg>
        <pc:spChg chg="mod">
          <ac:chgData name="Marco Casiraghi" userId="34c8cd23-4fb6-4298-956c-4a0fecec7678" providerId="ADAL" clId="{121DDFE8-C1B3-488F-AA1B-7A2D8DFD306D}" dt="2026-01-30T01:27:29.116" v="2203" actId="20577"/>
          <ac:spMkLst>
            <pc:docMk/>
            <pc:sldMk cId="1536178990" sldId="2147478876"/>
            <ac:spMk id="90" creationId="{94D87794-8D74-C332-8783-325EFC45CCBE}"/>
          </ac:spMkLst>
        </pc:spChg>
        <pc:spChg chg="mod">
          <ac:chgData name="Marco Casiraghi" userId="34c8cd23-4fb6-4298-956c-4a0fecec7678" providerId="ADAL" clId="{121DDFE8-C1B3-488F-AA1B-7A2D8DFD306D}" dt="2026-01-30T01:27:29.200" v="2281" actId="20577"/>
          <ac:spMkLst>
            <pc:docMk/>
            <pc:sldMk cId="1536178990" sldId="2147478876"/>
            <ac:spMk id="91" creationId="{71C15751-DC12-2148-F48E-6019957B05CA}"/>
          </ac:spMkLst>
        </pc:spChg>
        <pc:spChg chg="mod">
          <ac:chgData name="Marco Casiraghi" userId="34c8cd23-4fb6-4298-956c-4a0fecec7678" providerId="ADAL" clId="{121DDFE8-C1B3-488F-AA1B-7A2D8DFD306D}" dt="2026-01-30T01:27:29.202" v="2283" actId="20577"/>
          <ac:spMkLst>
            <pc:docMk/>
            <pc:sldMk cId="1536178990" sldId="2147478876"/>
            <ac:spMk id="92" creationId="{7F3D9FBD-8C12-ACC2-0F07-B216480B21A6}"/>
          </ac:spMkLst>
        </pc:spChg>
        <pc:spChg chg="mod">
          <ac:chgData name="Marco Casiraghi" userId="34c8cd23-4fb6-4298-956c-4a0fecec7678" providerId="ADAL" clId="{121DDFE8-C1B3-488F-AA1B-7A2D8DFD306D}" dt="2026-01-30T01:27:29.191" v="2271" actId="20577"/>
          <ac:spMkLst>
            <pc:docMk/>
            <pc:sldMk cId="1536178990" sldId="2147478876"/>
            <ac:spMk id="93" creationId="{53D35437-D83C-5EA2-A896-ABB5EDC0E57A}"/>
          </ac:spMkLst>
        </pc:spChg>
        <pc:spChg chg="mod">
          <ac:chgData name="Marco Casiraghi" userId="34c8cd23-4fb6-4298-956c-4a0fecec7678" providerId="ADAL" clId="{121DDFE8-C1B3-488F-AA1B-7A2D8DFD306D}" dt="2026-01-30T01:27:29.192" v="2273" actId="20577"/>
          <ac:spMkLst>
            <pc:docMk/>
            <pc:sldMk cId="1536178990" sldId="2147478876"/>
            <ac:spMk id="94" creationId="{899C9D30-B03E-C7BF-49F8-2BF3BC9C18DF}"/>
          </ac:spMkLst>
        </pc:spChg>
        <pc:spChg chg="mod">
          <ac:chgData name="Marco Casiraghi" userId="34c8cd23-4fb6-4298-956c-4a0fecec7678" providerId="ADAL" clId="{121DDFE8-C1B3-488F-AA1B-7A2D8DFD306D}" dt="2026-01-30T01:27:29.182" v="2261" actId="20577"/>
          <ac:spMkLst>
            <pc:docMk/>
            <pc:sldMk cId="1536178990" sldId="2147478876"/>
            <ac:spMk id="95" creationId="{67BAE8BD-1347-9F8C-521B-D447187EC0C7}"/>
          </ac:spMkLst>
        </pc:spChg>
        <pc:spChg chg="mod">
          <ac:chgData name="Marco Casiraghi" userId="34c8cd23-4fb6-4298-956c-4a0fecec7678" providerId="ADAL" clId="{121DDFE8-C1B3-488F-AA1B-7A2D8DFD306D}" dt="2026-01-30T01:27:29.183" v="2263" actId="20577"/>
          <ac:spMkLst>
            <pc:docMk/>
            <pc:sldMk cId="1536178990" sldId="2147478876"/>
            <ac:spMk id="96" creationId="{83418B8D-2B97-8936-723D-C1F070B6BADD}"/>
          </ac:spMkLst>
        </pc:spChg>
        <pc:spChg chg="mod">
          <ac:chgData name="Marco Casiraghi" userId="34c8cd23-4fb6-4298-956c-4a0fecec7678" providerId="ADAL" clId="{121DDFE8-C1B3-488F-AA1B-7A2D8DFD306D}" dt="2026-01-30T01:27:29.171" v="2251" actId="20577"/>
          <ac:spMkLst>
            <pc:docMk/>
            <pc:sldMk cId="1536178990" sldId="2147478876"/>
            <ac:spMk id="97" creationId="{6B196DC1-9DC1-A29A-BBD2-DAD7E96C3D4D}"/>
          </ac:spMkLst>
        </pc:spChg>
        <pc:spChg chg="mod">
          <ac:chgData name="Marco Casiraghi" userId="34c8cd23-4fb6-4298-956c-4a0fecec7678" providerId="ADAL" clId="{121DDFE8-C1B3-488F-AA1B-7A2D8DFD306D}" dt="2026-01-30T01:27:29.174" v="2253" actId="20577"/>
          <ac:spMkLst>
            <pc:docMk/>
            <pc:sldMk cId="1536178990" sldId="2147478876"/>
            <ac:spMk id="98" creationId="{37CB05CC-F0F5-F5F3-5CD5-177A8FBD3830}"/>
          </ac:spMkLst>
        </pc:spChg>
        <pc:spChg chg="mod">
          <ac:chgData name="Marco Casiraghi" userId="34c8cd23-4fb6-4298-956c-4a0fecec7678" providerId="ADAL" clId="{121DDFE8-C1B3-488F-AA1B-7A2D8DFD306D}" dt="2026-01-30T01:27:29.159" v="2241" actId="20577"/>
          <ac:spMkLst>
            <pc:docMk/>
            <pc:sldMk cId="1536178990" sldId="2147478876"/>
            <ac:spMk id="99" creationId="{71A067E3-B7D8-72CF-215C-4126044283A0}"/>
          </ac:spMkLst>
        </pc:spChg>
        <pc:spChg chg="mod">
          <ac:chgData name="Marco Casiraghi" userId="34c8cd23-4fb6-4298-956c-4a0fecec7678" providerId="ADAL" clId="{121DDFE8-C1B3-488F-AA1B-7A2D8DFD306D}" dt="2026-01-30T01:27:29.162" v="2243" actId="20577"/>
          <ac:spMkLst>
            <pc:docMk/>
            <pc:sldMk cId="1536178990" sldId="2147478876"/>
            <ac:spMk id="100" creationId="{C6A45892-D8F6-137B-A805-F4595FF897B8}"/>
          </ac:spMkLst>
        </pc:spChg>
        <pc:spChg chg="mod">
          <ac:chgData name="Marco Casiraghi" userId="34c8cd23-4fb6-4298-956c-4a0fecec7678" providerId="ADAL" clId="{121DDFE8-C1B3-488F-AA1B-7A2D8DFD306D}" dt="2026-01-30T01:27:29.149" v="2231" actId="20577"/>
          <ac:spMkLst>
            <pc:docMk/>
            <pc:sldMk cId="1536178990" sldId="2147478876"/>
            <ac:spMk id="101" creationId="{0FC9345A-D69B-D729-65D0-715AED73570C}"/>
          </ac:spMkLst>
        </pc:spChg>
        <pc:spChg chg="mod">
          <ac:chgData name="Marco Casiraghi" userId="34c8cd23-4fb6-4298-956c-4a0fecec7678" providerId="ADAL" clId="{121DDFE8-C1B3-488F-AA1B-7A2D8DFD306D}" dt="2026-01-30T01:27:29.151" v="2233" actId="20577"/>
          <ac:spMkLst>
            <pc:docMk/>
            <pc:sldMk cId="1536178990" sldId="2147478876"/>
            <ac:spMk id="102" creationId="{5480AB92-F6CD-6095-ACFF-5E15F37B7CCA}"/>
          </ac:spMkLst>
        </pc:spChg>
        <pc:spChg chg="mod">
          <ac:chgData name="Marco Casiraghi" userId="34c8cd23-4fb6-4298-956c-4a0fecec7678" providerId="ADAL" clId="{121DDFE8-C1B3-488F-AA1B-7A2D8DFD306D}" dt="2026-01-30T01:27:29.139" v="2221" actId="20577"/>
          <ac:spMkLst>
            <pc:docMk/>
            <pc:sldMk cId="1536178990" sldId="2147478876"/>
            <ac:spMk id="103" creationId="{17EF1DA7-28D5-FF79-BBC5-D132702DF555}"/>
          </ac:spMkLst>
        </pc:spChg>
        <pc:spChg chg="mod">
          <ac:chgData name="Marco Casiraghi" userId="34c8cd23-4fb6-4298-956c-4a0fecec7678" providerId="ADAL" clId="{121DDFE8-C1B3-488F-AA1B-7A2D8DFD306D}" dt="2026-01-30T01:27:29.141" v="2223" actId="20577"/>
          <ac:spMkLst>
            <pc:docMk/>
            <pc:sldMk cId="1536178990" sldId="2147478876"/>
            <ac:spMk id="104" creationId="{BAE2F13A-6631-32DC-861D-94F7D7A418FD}"/>
          </ac:spMkLst>
        </pc:spChg>
        <pc:spChg chg="mod">
          <ac:chgData name="Marco Casiraghi" userId="34c8cd23-4fb6-4298-956c-4a0fecec7678" providerId="ADAL" clId="{121DDFE8-C1B3-488F-AA1B-7A2D8DFD306D}" dt="2026-01-30T01:27:29.124" v="2211" actId="20577"/>
          <ac:spMkLst>
            <pc:docMk/>
            <pc:sldMk cId="1536178990" sldId="2147478876"/>
            <ac:spMk id="105" creationId="{0669554A-6625-B57D-59CF-7F8F7EE63842}"/>
          </ac:spMkLst>
        </pc:spChg>
        <pc:spChg chg="mod">
          <ac:chgData name="Marco Casiraghi" userId="34c8cd23-4fb6-4298-956c-4a0fecec7678" providerId="ADAL" clId="{121DDFE8-C1B3-488F-AA1B-7A2D8DFD306D}" dt="2026-01-30T01:27:29.128" v="2213" actId="20577"/>
          <ac:spMkLst>
            <pc:docMk/>
            <pc:sldMk cId="1536178990" sldId="2147478876"/>
            <ac:spMk id="106" creationId="{A16E910C-FB67-2771-D267-0A0925ACD300}"/>
          </ac:spMkLst>
        </pc:spChg>
        <pc:spChg chg="mod">
          <ac:chgData name="Marco Casiraghi" userId="34c8cd23-4fb6-4298-956c-4a0fecec7678" providerId="ADAL" clId="{121DDFE8-C1B3-488F-AA1B-7A2D8DFD306D}" dt="2026-01-30T01:27:29.054" v="2147" actId="20577"/>
          <ac:spMkLst>
            <pc:docMk/>
            <pc:sldMk cId="1536178990" sldId="2147478876"/>
            <ac:spMk id="107" creationId="{F3C6C098-CADE-410C-F921-85DB252BA93E}"/>
          </ac:spMkLst>
        </pc:spChg>
        <pc:spChg chg="mod">
          <ac:chgData name="Marco Casiraghi" userId="34c8cd23-4fb6-4298-956c-4a0fecec7678" providerId="ADAL" clId="{121DDFE8-C1B3-488F-AA1B-7A2D8DFD306D}" dt="2026-01-30T01:27:29.065" v="2157" actId="20577"/>
          <ac:spMkLst>
            <pc:docMk/>
            <pc:sldMk cId="1536178990" sldId="2147478876"/>
            <ac:spMk id="211" creationId="{092828D5-BD33-7275-17D0-A4C0E8906639}"/>
          </ac:spMkLst>
        </pc:spChg>
        <pc:spChg chg="mod">
          <ac:chgData name="Marco Casiraghi" userId="34c8cd23-4fb6-4298-956c-4a0fecec7678" providerId="ADAL" clId="{121DDFE8-C1B3-488F-AA1B-7A2D8DFD306D}" dt="2026-01-30T01:27:29.074" v="2167" actId="20577"/>
          <ac:spMkLst>
            <pc:docMk/>
            <pc:sldMk cId="1536178990" sldId="2147478876"/>
            <ac:spMk id="213" creationId="{0980E077-8BE5-1730-791B-7D97FA0ACEB5}"/>
          </ac:spMkLst>
        </pc:spChg>
        <pc:spChg chg="mod">
          <ac:chgData name="Marco Casiraghi" userId="34c8cd23-4fb6-4298-956c-4a0fecec7678" providerId="ADAL" clId="{121DDFE8-C1B3-488F-AA1B-7A2D8DFD306D}" dt="2026-01-30T01:27:29.084" v="2177" actId="20577"/>
          <ac:spMkLst>
            <pc:docMk/>
            <pc:sldMk cId="1536178990" sldId="2147478876"/>
            <ac:spMk id="214" creationId="{19A24914-8B94-9E6E-7255-94E37B1CE957}"/>
          </ac:spMkLst>
        </pc:spChg>
        <pc:spChg chg="mod">
          <ac:chgData name="Marco Casiraghi" userId="34c8cd23-4fb6-4298-956c-4a0fecec7678" providerId="ADAL" clId="{121DDFE8-C1B3-488F-AA1B-7A2D8DFD306D}" dt="2026-01-30T01:27:29.096" v="2187" actId="20577"/>
          <ac:spMkLst>
            <pc:docMk/>
            <pc:sldMk cId="1536178990" sldId="2147478876"/>
            <ac:spMk id="215" creationId="{4148CC26-B0B3-CD6F-703E-109C31D453D1}"/>
          </ac:spMkLst>
        </pc:spChg>
        <pc:spChg chg="mod">
          <ac:chgData name="Marco Casiraghi" userId="34c8cd23-4fb6-4298-956c-4a0fecec7678" providerId="ADAL" clId="{121DDFE8-C1B3-488F-AA1B-7A2D8DFD306D}" dt="2026-01-30T01:27:29.109" v="2197" actId="20577"/>
          <ac:spMkLst>
            <pc:docMk/>
            <pc:sldMk cId="1536178990" sldId="2147478876"/>
            <ac:spMk id="216" creationId="{C4E9FEAF-4DA2-1514-B079-82BD50DC8D36}"/>
          </ac:spMkLst>
        </pc:spChg>
        <pc:spChg chg="mod">
          <ac:chgData name="Marco Casiraghi" userId="34c8cd23-4fb6-4298-956c-4a0fecec7678" providerId="ADAL" clId="{121DDFE8-C1B3-488F-AA1B-7A2D8DFD306D}" dt="2026-01-30T01:27:29.120" v="2207" actId="20577"/>
          <ac:spMkLst>
            <pc:docMk/>
            <pc:sldMk cId="1536178990" sldId="2147478876"/>
            <ac:spMk id="217" creationId="{D44139D5-2B7F-6398-ED7A-F2C1C845210E}"/>
          </ac:spMkLst>
        </pc:spChg>
        <pc:spChg chg="mod">
          <ac:chgData name="Marco Casiraghi" userId="34c8cd23-4fb6-4298-956c-4a0fecec7678" providerId="ADAL" clId="{121DDFE8-C1B3-488F-AA1B-7A2D8DFD306D}" dt="2026-01-30T01:27:29.205" v="2287" actId="20577"/>
          <ac:spMkLst>
            <pc:docMk/>
            <pc:sldMk cId="1536178990" sldId="2147478876"/>
            <ac:spMk id="218" creationId="{9E31C740-2CEF-E057-00C3-F50D53D1B0D0}"/>
          </ac:spMkLst>
        </pc:spChg>
        <pc:spChg chg="mod">
          <ac:chgData name="Marco Casiraghi" userId="34c8cd23-4fb6-4298-956c-4a0fecec7678" providerId="ADAL" clId="{121DDFE8-C1B3-488F-AA1B-7A2D8DFD306D}" dt="2026-01-30T01:27:42.281" v="2295" actId="20577"/>
          <ac:spMkLst>
            <pc:docMk/>
            <pc:sldMk cId="1536178990" sldId="2147478876"/>
            <ac:spMk id="219" creationId="{0FB6AB87-26ED-30AD-A244-1961C499002D}"/>
          </ac:spMkLst>
        </pc:spChg>
        <pc:spChg chg="mod">
          <ac:chgData name="Marco Casiraghi" userId="34c8cd23-4fb6-4298-956c-4a0fecec7678" providerId="ADAL" clId="{121DDFE8-C1B3-488F-AA1B-7A2D8DFD306D}" dt="2026-01-30T01:27:29.187" v="2267" actId="20577"/>
          <ac:spMkLst>
            <pc:docMk/>
            <pc:sldMk cId="1536178990" sldId="2147478876"/>
            <ac:spMk id="220" creationId="{347DE79C-2B3A-8D8B-9027-4E7688E3A82B}"/>
          </ac:spMkLst>
        </pc:spChg>
        <pc:spChg chg="mod">
          <ac:chgData name="Marco Casiraghi" userId="34c8cd23-4fb6-4298-956c-4a0fecec7678" providerId="ADAL" clId="{121DDFE8-C1B3-488F-AA1B-7A2D8DFD306D}" dt="2026-01-30T01:27:29.178" v="2257" actId="20577"/>
          <ac:spMkLst>
            <pc:docMk/>
            <pc:sldMk cId="1536178990" sldId="2147478876"/>
            <ac:spMk id="221" creationId="{35F7D3A4-B46A-F8A1-078A-818EA4F85433}"/>
          </ac:spMkLst>
        </pc:spChg>
        <pc:spChg chg="mod">
          <ac:chgData name="Marco Casiraghi" userId="34c8cd23-4fb6-4298-956c-4a0fecec7678" providerId="ADAL" clId="{121DDFE8-C1B3-488F-AA1B-7A2D8DFD306D}" dt="2026-01-30T01:27:39.025" v="2293"/>
          <ac:spMkLst>
            <pc:docMk/>
            <pc:sldMk cId="1536178990" sldId="2147478876"/>
            <ac:spMk id="222" creationId="{09E7481C-7A76-0AE5-345B-96879F59C029}"/>
          </ac:spMkLst>
        </pc:spChg>
        <pc:spChg chg="mod">
          <ac:chgData name="Marco Casiraghi" userId="34c8cd23-4fb6-4298-956c-4a0fecec7678" providerId="ADAL" clId="{121DDFE8-C1B3-488F-AA1B-7A2D8DFD306D}" dt="2026-01-30T01:27:29.155" v="2237" actId="20577"/>
          <ac:spMkLst>
            <pc:docMk/>
            <pc:sldMk cId="1536178990" sldId="2147478876"/>
            <ac:spMk id="223" creationId="{5F7FBC35-EBB0-6304-2DC3-B340793A8EEA}"/>
          </ac:spMkLst>
        </pc:spChg>
        <pc:spChg chg="mod">
          <ac:chgData name="Marco Casiraghi" userId="34c8cd23-4fb6-4298-956c-4a0fecec7678" providerId="ADAL" clId="{121DDFE8-C1B3-488F-AA1B-7A2D8DFD306D}" dt="2026-01-30T01:27:29.145" v="2227" actId="20577"/>
          <ac:spMkLst>
            <pc:docMk/>
            <pc:sldMk cId="1536178990" sldId="2147478876"/>
            <ac:spMk id="224" creationId="{4A48EC55-C5E7-E1B7-0711-CFAF838C2107}"/>
          </ac:spMkLst>
        </pc:spChg>
        <pc:spChg chg="mod">
          <ac:chgData name="Marco Casiraghi" userId="34c8cd23-4fb6-4298-956c-4a0fecec7678" providerId="ADAL" clId="{121DDFE8-C1B3-488F-AA1B-7A2D8DFD306D}" dt="2026-01-30T01:27:29.133" v="2217" actId="20577"/>
          <ac:spMkLst>
            <pc:docMk/>
            <pc:sldMk cId="1536178990" sldId="2147478876"/>
            <ac:spMk id="225" creationId="{9FDF8A8D-D394-81B5-FBA7-B9499FEB391B}"/>
          </ac:spMkLst>
        </pc:spChg>
        <pc:spChg chg="mod">
          <ac:chgData name="Marco Casiraghi" userId="34c8cd23-4fb6-4298-956c-4a0fecec7678" providerId="ADAL" clId="{121DDFE8-C1B3-488F-AA1B-7A2D8DFD306D}" dt="2026-01-30T01:27:29.052" v="2145" actId="20577"/>
          <ac:spMkLst>
            <pc:docMk/>
            <pc:sldMk cId="1536178990" sldId="2147478876"/>
            <ac:spMk id="226" creationId="{69720636-26BD-1BBA-0C5F-6FC739F5BFDF}"/>
          </ac:spMkLst>
        </pc:spChg>
        <pc:spChg chg="mod">
          <ac:chgData name="Marco Casiraghi" userId="34c8cd23-4fb6-4298-956c-4a0fecec7678" providerId="ADAL" clId="{121DDFE8-C1B3-488F-AA1B-7A2D8DFD306D}" dt="2026-01-30T01:27:29.063" v="2155" actId="20577"/>
          <ac:spMkLst>
            <pc:docMk/>
            <pc:sldMk cId="1536178990" sldId="2147478876"/>
            <ac:spMk id="227" creationId="{DE3809EB-173A-3050-4278-043499838F21}"/>
          </ac:spMkLst>
        </pc:spChg>
        <pc:spChg chg="mod">
          <ac:chgData name="Marco Casiraghi" userId="34c8cd23-4fb6-4298-956c-4a0fecec7678" providerId="ADAL" clId="{121DDFE8-C1B3-488F-AA1B-7A2D8DFD306D}" dt="2026-01-30T01:27:29.072" v="2165" actId="20577"/>
          <ac:spMkLst>
            <pc:docMk/>
            <pc:sldMk cId="1536178990" sldId="2147478876"/>
            <ac:spMk id="228" creationId="{49A7E88F-D84E-EF93-643D-C99FDA5D5336}"/>
          </ac:spMkLst>
        </pc:spChg>
        <pc:spChg chg="mod">
          <ac:chgData name="Marco Casiraghi" userId="34c8cd23-4fb6-4298-956c-4a0fecec7678" providerId="ADAL" clId="{121DDFE8-C1B3-488F-AA1B-7A2D8DFD306D}" dt="2026-01-30T01:27:29.082" v="2175" actId="20577"/>
          <ac:spMkLst>
            <pc:docMk/>
            <pc:sldMk cId="1536178990" sldId="2147478876"/>
            <ac:spMk id="229" creationId="{B8D4ADB3-C69C-B800-8F94-4D137B4CA0D5}"/>
          </ac:spMkLst>
        </pc:spChg>
        <pc:spChg chg="mod">
          <ac:chgData name="Marco Casiraghi" userId="34c8cd23-4fb6-4298-956c-4a0fecec7678" providerId="ADAL" clId="{121DDFE8-C1B3-488F-AA1B-7A2D8DFD306D}" dt="2026-01-30T01:27:29.094" v="2185" actId="20577"/>
          <ac:spMkLst>
            <pc:docMk/>
            <pc:sldMk cId="1536178990" sldId="2147478876"/>
            <ac:spMk id="230" creationId="{70477FA4-FE7D-3416-816E-6CB706740F3C}"/>
          </ac:spMkLst>
        </pc:spChg>
        <pc:spChg chg="mod">
          <ac:chgData name="Marco Casiraghi" userId="34c8cd23-4fb6-4298-956c-4a0fecec7678" providerId="ADAL" clId="{121DDFE8-C1B3-488F-AA1B-7A2D8DFD306D}" dt="2026-01-30T01:27:29.106" v="2195" actId="20577"/>
          <ac:spMkLst>
            <pc:docMk/>
            <pc:sldMk cId="1536178990" sldId="2147478876"/>
            <ac:spMk id="231" creationId="{43AC824D-4332-0998-331A-07D1F267CD65}"/>
          </ac:spMkLst>
        </pc:spChg>
        <pc:spChg chg="mod">
          <ac:chgData name="Marco Casiraghi" userId="34c8cd23-4fb6-4298-956c-4a0fecec7678" providerId="ADAL" clId="{121DDFE8-C1B3-488F-AA1B-7A2D8DFD306D}" dt="2026-01-30T01:27:29.118" v="2205" actId="20577"/>
          <ac:spMkLst>
            <pc:docMk/>
            <pc:sldMk cId="1536178990" sldId="2147478876"/>
            <ac:spMk id="232" creationId="{D90D7ECD-C335-7704-05BE-1C2A348CB9C1}"/>
          </ac:spMkLst>
        </pc:spChg>
        <pc:spChg chg="mod">
          <ac:chgData name="Marco Casiraghi" userId="34c8cd23-4fb6-4298-956c-4a0fecec7678" providerId="ADAL" clId="{121DDFE8-C1B3-488F-AA1B-7A2D8DFD306D}" dt="2026-01-30T01:27:29.204" v="2285" actId="20577"/>
          <ac:spMkLst>
            <pc:docMk/>
            <pc:sldMk cId="1536178990" sldId="2147478876"/>
            <ac:spMk id="233" creationId="{78749087-22D4-DF00-7755-80DF5C6C3BC0}"/>
          </ac:spMkLst>
        </pc:spChg>
        <pc:spChg chg="mod">
          <ac:chgData name="Marco Casiraghi" userId="34c8cd23-4fb6-4298-956c-4a0fecec7678" providerId="ADAL" clId="{121DDFE8-C1B3-488F-AA1B-7A2D8DFD306D}" dt="2026-01-30T01:27:47.549" v="2298" actId="20577"/>
          <ac:spMkLst>
            <pc:docMk/>
            <pc:sldMk cId="1536178990" sldId="2147478876"/>
            <ac:spMk id="234" creationId="{DDE88DEE-B1FC-94AE-71A9-1F032703BFDE}"/>
          </ac:spMkLst>
        </pc:spChg>
        <pc:spChg chg="mod">
          <ac:chgData name="Marco Casiraghi" userId="34c8cd23-4fb6-4298-956c-4a0fecec7678" providerId="ADAL" clId="{121DDFE8-C1B3-488F-AA1B-7A2D8DFD306D}" dt="2026-01-30T01:27:29.185" v="2265" actId="20577"/>
          <ac:spMkLst>
            <pc:docMk/>
            <pc:sldMk cId="1536178990" sldId="2147478876"/>
            <ac:spMk id="235" creationId="{EA9E8AB0-6EAD-C316-B6FA-66ADEFB2F3A8}"/>
          </ac:spMkLst>
        </pc:spChg>
        <pc:spChg chg="mod">
          <ac:chgData name="Marco Casiraghi" userId="34c8cd23-4fb6-4298-956c-4a0fecec7678" providerId="ADAL" clId="{121DDFE8-C1B3-488F-AA1B-7A2D8DFD306D}" dt="2026-01-30T01:27:29.176" v="2255" actId="20577"/>
          <ac:spMkLst>
            <pc:docMk/>
            <pc:sldMk cId="1536178990" sldId="2147478876"/>
            <ac:spMk id="236" creationId="{6EE49598-2F6C-F0C8-52E4-51C9DA0630D7}"/>
          </ac:spMkLst>
        </pc:spChg>
        <pc:spChg chg="mod">
          <ac:chgData name="Marco Casiraghi" userId="34c8cd23-4fb6-4298-956c-4a0fecec7678" providerId="ADAL" clId="{121DDFE8-C1B3-488F-AA1B-7A2D8DFD306D}" dt="2026-01-30T01:27:44.534" v="2296" actId="20577"/>
          <ac:spMkLst>
            <pc:docMk/>
            <pc:sldMk cId="1536178990" sldId="2147478876"/>
            <ac:spMk id="237" creationId="{3629E2CF-82CD-5631-C439-43F43D0D7823}"/>
          </ac:spMkLst>
        </pc:spChg>
        <pc:spChg chg="mod">
          <ac:chgData name="Marco Casiraghi" userId="34c8cd23-4fb6-4298-956c-4a0fecec7678" providerId="ADAL" clId="{121DDFE8-C1B3-488F-AA1B-7A2D8DFD306D}" dt="2026-01-30T01:27:29.153" v="2235" actId="20577"/>
          <ac:spMkLst>
            <pc:docMk/>
            <pc:sldMk cId="1536178990" sldId="2147478876"/>
            <ac:spMk id="238" creationId="{223BBDBF-78A1-3774-469B-39A842EE2040}"/>
          </ac:spMkLst>
        </pc:spChg>
        <pc:spChg chg="mod">
          <ac:chgData name="Marco Casiraghi" userId="34c8cd23-4fb6-4298-956c-4a0fecec7678" providerId="ADAL" clId="{121DDFE8-C1B3-488F-AA1B-7A2D8DFD306D}" dt="2026-01-30T01:27:29.144" v="2225" actId="20577"/>
          <ac:spMkLst>
            <pc:docMk/>
            <pc:sldMk cId="1536178990" sldId="2147478876"/>
            <ac:spMk id="239" creationId="{E264F5C1-CF33-C2FD-0663-E46AC710B308}"/>
          </ac:spMkLst>
        </pc:spChg>
        <pc:spChg chg="mod">
          <ac:chgData name="Marco Casiraghi" userId="34c8cd23-4fb6-4298-956c-4a0fecec7678" providerId="ADAL" clId="{121DDFE8-C1B3-488F-AA1B-7A2D8DFD306D}" dt="2026-01-30T01:27:29.131" v="2215" actId="20577"/>
          <ac:spMkLst>
            <pc:docMk/>
            <pc:sldMk cId="1536178990" sldId="2147478876"/>
            <ac:spMk id="240" creationId="{0B1DC500-9849-1581-E283-8811809C9D94}"/>
          </ac:spMkLst>
        </pc:spChg>
        <pc:spChg chg="mod">
          <ac:chgData name="Marco Casiraghi" userId="34c8cd23-4fb6-4298-956c-4a0fecec7678" providerId="ADAL" clId="{121DDFE8-C1B3-488F-AA1B-7A2D8DFD306D}" dt="2026-01-30T01:27:29.057" v="2149" actId="20577"/>
          <ac:spMkLst>
            <pc:docMk/>
            <pc:sldMk cId="1536178990" sldId="2147478876"/>
            <ac:spMk id="241" creationId="{564B81D6-E07A-6492-C30C-A87743CEEE3A}"/>
          </ac:spMkLst>
        </pc:spChg>
        <pc:spChg chg="mod">
          <ac:chgData name="Marco Casiraghi" userId="34c8cd23-4fb6-4298-956c-4a0fecec7678" providerId="ADAL" clId="{121DDFE8-C1B3-488F-AA1B-7A2D8DFD306D}" dt="2026-01-30T01:27:29.066" v="2159" actId="20577"/>
          <ac:spMkLst>
            <pc:docMk/>
            <pc:sldMk cId="1536178990" sldId="2147478876"/>
            <ac:spMk id="242" creationId="{0990B5D8-B19B-5031-649E-AE56918828F8}"/>
          </ac:spMkLst>
        </pc:spChg>
        <pc:spChg chg="mod">
          <ac:chgData name="Marco Casiraghi" userId="34c8cd23-4fb6-4298-956c-4a0fecec7678" providerId="ADAL" clId="{121DDFE8-C1B3-488F-AA1B-7A2D8DFD306D}" dt="2026-01-30T01:27:29.076" v="2169" actId="20577"/>
          <ac:spMkLst>
            <pc:docMk/>
            <pc:sldMk cId="1536178990" sldId="2147478876"/>
            <ac:spMk id="243" creationId="{884DF88E-62FB-AB18-0828-5F7F6270F484}"/>
          </ac:spMkLst>
        </pc:spChg>
        <pc:spChg chg="mod">
          <ac:chgData name="Marco Casiraghi" userId="34c8cd23-4fb6-4298-956c-4a0fecec7678" providerId="ADAL" clId="{121DDFE8-C1B3-488F-AA1B-7A2D8DFD306D}" dt="2026-01-30T01:27:29.086" v="2179" actId="20577"/>
          <ac:spMkLst>
            <pc:docMk/>
            <pc:sldMk cId="1536178990" sldId="2147478876"/>
            <ac:spMk id="244" creationId="{4B8FF3D3-66E1-76B8-698C-4DC27A10E1AC}"/>
          </ac:spMkLst>
        </pc:spChg>
        <pc:spChg chg="mod">
          <ac:chgData name="Marco Casiraghi" userId="34c8cd23-4fb6-4298-956c-4a0fecec7678" providerId="ADAL" clId="{121DDFE8-C1B3-488F-AA1B-7A2D8DFD306D}" dt="2026-01-30T01:27:29.098" v="2189" actId="20577"/>
          <ac:spMkLst>
            <pc:docMk/>
            <pc:sldMk cId="1536178990" sldId="2147478876"/>
            <ac:spMk id="245" creationId="{B99AC172-6756-46C2-053C-5326F0883A04}"/>
          </ac:spMkLst>
        </pc:spChg>
        <pc:spChg chg="mod">
          <ac:chgData name="Marco Casiraghi" userId="34c8cd23-4fb6-4298-956c-4a0fecec7678" providerId="ADAL" clId="{121DDFE8-C1B3-488F-AA1B-7A2D8DFD306D}" dt="2026-01-30T01:27:29.112" v="2199" actId="20577"/>
          <ac:spMkLst>
            <pc:docMk/>
            <pc:sldMk cId="1536178990" sldId="2147478876"/>
            <ac:spMk id="246" creationId="{72797D40-CF74-DFD7-8D5B-B67D3E75C0EC}"/>
          </ac:spMkLst>
        </pc:spChg>
        <pc:spChg chg="mod">
          <ac:chgData name="Marco Casiraghi" userId="34c8cd23-4fb6-4298-956c-4a0fecec7678" providerId="ADAL" clId="{121DDFE8-C1B3-488F-AA1B-7A2D8DFD306D}" dt="2026-01-30T01:27:29.122" v="2209" actId="20577"/>
          <ac:spMkLst>
            <pc:docMk/>
            <pc:sldMk cId="1536178990" sldId="2147478876"/>
            <ac:spMk id="247" creationId="{9FFF4CEC-FE55-90DE-CAFA-A2168DDD70EA}"/>
          </ac:spMkLst>
        </pc:spChg>
        <pc:spChg chg="mod">
          <ac:chgData name="Marco Casiraghi" userId="34c8cd23-4fb6-4298-956c-4a0fecec7678" providerId="ADAL" clId="{121DDFE8-C1B3-488F-AA1B-7A2D8DFD306D}" dt="2026-01-30T01:27:29.208" v="2289" actId="20577"/>
          <ac:spMkLst>
            <pc:docMk/>
            <pc:sldMk cId="1536178990" sldId="2147478876"/>
            <ac:spMk id="248" creationId="{F538510A-8CB4-62C0-B2C0-189ABB0EC051}"/>
          </ac:spMkLst>
        </pc:spChg>
        <pc:spChg chg="mod">
          <ac:chgData name="Marco Casiraghi" userId="34c8cd23-4fb6-4298-956c-4a0fecec7678" providerId="ADAL" clId="{121DDFE8-C1B3-488F-AA1B-7A2D8DFD306D}" dt="2026-01-30T01:27:29.198" v="2279" actId="20577"/>
          <ac:spMkLst>
            <pc:docMk/>
            <pc:sldMk cId="1536178990" sldId="2147478876"/>
            <ac:spMk id="249" creationId="{856DD2DE-C65C-7044-65EB-3689CAB7C604}"/>
          </ac:spMkLst>
        </pc:spChg>
        <pc:spChg chg="mod">
          <ac:chgData name="Marco Casiraghi" userId="34c8cd23-4fb6-4298-956c-4a0fecec7678" providerId="ADAL" clId="{121DDFE8-C1B3-488F-AA1B-7A2D8DFD306D}" dt="2026-01-30T01:27:29.189" v="2269" actId="20577"/>
          <ac:spMkLst>
            <pc:docMk/>
            <pc:sldMk cId="1536178990" sldId="2147478876"/>
            <ac:spMk id="250" creationId="{3FE82222-1A6D-0B29-9E45-A539876EC671}"/>
          </ac:spMkLst>
        </pc:spChg>
        <pc:spChg chg="mod">
          <ac:chgData name="Marco Casiraghi" userId="34c8cd23-4fb6-4298-956c-4a0fecec7678" providerId="ADAL" clId="{121DDFE8-C1B3-488F-AA1B-7A2D8DFD306D}" dt="2026-01-30T01:27:29.179" v="2259" actId="20577"/>
          <ac:spMkLst>
            <pc:docMk/>
            <pc:sldMk cId="1536178990" sldId="2147478876"/>
            <ac:spMk id="251" creationId="{CC879664-5BE3-A396-A845-41584DE2D9B8}"/>
          </ac:spMkLst>
        </pc:spChg>
        <pc:spChg chg="mod">
          <ac:chgData name="Marco Casiraghi" userId="34c8cd23-4fb6-4298-956c-4a0fecec7678" providerId="ADAL" clId="{121DDFE8-C1B3-488F-AA1B-7A2D8DFD306D}" dt="2026-01-30T01:27:29.168" v="2249" actId="20577"/>
          <ac:spMkLst>
            <pc:docMk/>
            <pc:sldMk cId="1536178990" sldId="2147478876"/>
            <ac:spMk id="252" creationId="{187E2D01-6277-00BE-2386-8AE494E34342}"/>
          </ac:spMkLst>
        </pc:spChg>
        <pc:spChg chg="mod">
          <ac:chgData name="Marco Casiraghi" userId="34c8cd23-4fb6-4298-956c-4a0fecec7678" providerId="ADAL" clId="{121DDFE8-C1B3-488F-AA1B-7A2D8DFD306D}" dt="2026-01-30T01:27:29.157" v="2239" actId="20577"/>
          <ac:spMkLst>
            <pc:docMk/>
            <pc:sldMk cId="1536178990" sldId="2147478876"/>
            <ac:spMk id="253" creationId="{5FB9BD66-B22A-709A-7473-84FA50A40F33}"/>
          </ac:spMkLst>
        </pc:spChg>
        <pc:spChg chg="mod">
          <ac:chgData name="Marco Casiraghi" userId="34c8cd23-4fb6-4298-956c-4a0fecec7678" providerId="ADAL" clId="{121DDFE8-C1B3-488F-AA1B-7A2D8DFD306D}" dt="2026-01-30T01:27:29.147" v="2229" actId="20577"/>
          <ac:spMkLst>
            <pc:docMk/>
            <pc:sldMk cId="1536178990" sldId="2147478876"/>
            <ac:spMk id="254" creationId="{9D3D3193-8495-C4E4-528C-71824C5AAA3F}"/>
          </ac:spMkLst>
        </pc:spChg>
        <pc:spChg chg="mod">
          <ac:chgData name="Marco Casiraghi" userId="34c8cd23-4fb6-4298-956c-4a0fecec7678" providerId="ADAL" clId="{121DDFE8-C1B3-488F-AA1B-7A2D8DFD306D}" dt="2026-01-30T01:27:29.136" v="2219" actId="20577"/>
          <ac:spMkLst>
            <pc:docMk/>
            <pc:sldMk cId="1536178990" sldId="2147478876"/>
            <ac:spMk id="255" creationId="{4D13BD0A-C47A-2921-0C8B-380516FF79F1}"/>
          </ac:spMkLst>
        </pc:spChg>
        <pc:spChg chg="del">
          <ac:chgData name="Marco Casiraghi" userId="34c8cd23-4fb6-4298-956c-4a0fecec7678" providerId="ADAL" clId="{121DDFE8-C1B3-488F-AA1B-7A2D8DFD306D}" dt="2026-01-30T01:27:20.484" v="2138" actId="478"/>
          <ac:spMkLst>
            <pc:docMk/>
            <pc:sldMk cId="1536178990" sldId="2147478876"/>
            <ac:spMk id="256" creationId="{4B82CE49-47EE-BAB7-F94D-DF2DA3E0D0A8}"/>
          </ac:spMkLst>
        </pc:spChg>
        <pc:spChg chg="mod">
          <ac:chgData name="Marco Casiraghi" userId="34c8cd23-4fb6-4298-956c-4a0fecec7678" providerId="ADAL" clId="{121DDFE8-C1B3-488F-AA1B-7A2D8DFD306D}" dt="2026-01-30T01:27:16.988" v="2113" actId="948"/>
          <ac:spMkLst>
            <pc:docMk/>
            <pc:sldMk cId="1536178990" sldId="2147478876"/>
            <ac:spMk id="273" creationId="{E43F317E-DBCE-2C63-A14A-AD42F3759FB1}"/>
          </ac:spMkLst>
        </pc:spChg>
        <pc:graphicFrameChg chg="mod">
          <ac:chgData name="Marco Casiraghi" userId="34c8cd23-4fb6-4298-956c-4a0fecec7678" providerId="ADAL" clId="{121DDFE8-C1B3-488F-AA1B-7A2D8DFD306D}" dt="2026-01-30T01:27:29.226" v="2291"/>
          <ac:graphicFrameMkLst>
            <pc:docMk/>
            <pc:sldMk cId="1536178990" sldId="2147478876"/>
            <ac:graphicFrameMk id="212" creationId="{9CF17DFA-9EC8-3699-756C-817C4615F9E2}"/>
          </ac:graphicFrameMkLst>
        </pc:graphicFrameChg>
      </pc:sldChg>
      <pc:sldChg chg="modSp add del">
        <pc:chgData name="Marco Casiraghi" userId="34c8cd23-4fb6-4298-956c-4a0fecec7678" providerId="ADAL" clId="{121DDFE8-C1B3-488F-AA1B-7A2D8DFD306D}" dt="2026-01-30T02:04:46.406" v="2452" actId="47"/>
        <pc:sldMkLst>
          <pc:docMk/>
          <pc:sldMk cId="1197511303" sldId="2147478877"/>
        </pc:sldMkLst>
        <pc:graphicFrameChg chg="mod">
          <ac:chgData name="Marco Casiraghi" userId="34c8cd23-4fb6-4298-956c-4a0fecec7678" providerId="ADAL" clId="{121DDFE8-C1B3-488F-AA1B-7A2D8DFD306D}" dt="2026-01-30T02:04:41.466" v="2451"/>
          <ac:graphicFrameMkLst>
            <pc:docMk/>
            <pc:sldMk cId="1197511303" sldId="2147478877"/>
            <ac:graphicFrameMk id="9" creationId="{B17C351C-6C7A-DFF4-5DCE-E4974831FFA1}"/>
          </ac:graphicFrameMkLst>
        </pc:graphicFrameChg>
      </pc:sldChg>
      <pc:sldChg chg="modSp add del">
        <pc:chgData name="Marco Casiraghi" userId="34c8cd23-4fb6-4298-956c-4a0fecec7678" providerId="ADAL" clId="{121DDFE8-C1B3-488F-AA1B-7A2D8DFD306D}" dt="2026-01-30T02:04:38.455" v="2449" actId="47"/>
        <pc:sldMkLst>
          <pc:docMk/>
          <pc:sldMk cId="1762383887" sldId="2147478877"/>
        </pc:sldMkLst>
        <pc:graphicFrameChg chg="mod">
          <ac:chgData name="Marco Casiraghi" userId="34c8cd23-4fb6-4298-956c-4a0fecec7678" providerId="ADAL" clId="{121DDFE8-C1B3-488F-AA1B-7A2D8DFD306D}" dt="2026-01-30T02:04:33.768" v="2448"/>
          <ac:graphicFrameMkLst>
            <pc:docMk/>
            <pc:sldMk cId="1762383887" sldId="2147478877"/>
            <ac:graphicFrameMk id="9" creationId="{D4FF048F-80A1-6DE0-2715-B669D3FD42B6}"/>
          </ac:graphicFrameMkLst>
        </pc:graphicFrameChg>
      </pc:sldChg>
      <pc:sldChg chg="addSp delSp modSp mod">
        <pc:chgData name="Marco Casiraghi" userId="34c8cd23-4fb6-4298-956c-4a0fecec7678" providerId="ADAL" clId="{121DDFE8-C1B3-488F-AA1B-7A2D8DFD306D}" dt="2026-01-30T19:04:34.795" v="2505"/>
        <pc:sldMkLst>
          <pc:docMk/>
          <pc:sldMk cId="3430908055" sldId="2147478878"/>
        </pc:sldMkLst>
        <pc:spChg chg="add del mod modVis">
          <ac:chgData name="Marco Casiraghi" userId="34c8cd23-4fb6-4298-956c-4a0fecec7678" providerId="ADAL" clId="{121DDFE8-C1B3-488F-AA1B-7A2D8DFD306D}" dt="2026-01-30T19:04:34.793" v="2503"/>
          <ac:spMkLst>
            <pc:docMk/>
            <pc:sldMk cId="3430908055" sldId="2147478878"/>
            <ac:spMk id="2" creationId="{B670EC34-321D-9722-910A-DED8E2E63801}"/>
          </ac:spMkLst>
        </pc:spChg>
        <pc:spChg chg="mod">
          <ac:chgData name="Marco Casiraghi" userId="34c8cd23-4fb6-4298-956c-4a0fecec7678" providerId="ADAL" clId="{121DDFE8-C1B3-488F-AA1B-7A2D8DFD306D}" dt="2026-01-30T19:04:34.755" v="2481" actId="948"/>
          <ac:spMkLst>
            <pc:docMk/>
            <pc:sldMk cId="3430908055" sldId="2147478878"/>
            <ac:spMk id="273" creationId="{20DD6648-3694-560D-1FB7-DAF5E4DF298A}"/>
          </ac:spMkLst>
        </pc:spChg>
        <pc:graphicFrameChg chg="mod">
          <ac:chgData name="Marco Casiraghi" userId="34c8cd23-4fb6-4298-956c-4a0fecec7678" providerId="ADAL" clId="{121DDFE8-C1B3-488F-AA1B-7A2D8DFD306D}" dt="2026-01-30T19:04:34.795" v="2505"/>
          <ac:graphicFrameMkLst>
            <pc:docMk/>
            <pc:sldMk cId="3430908055" sldId="2147478878"/>
            <ac:graphicFrameMk id="212" creationId="{A2430BA8-A966-FED1-E43E-2E157B01DB68}"/>
          </ac:graphicFrameMkLst>
        </pc:graphicFrameChg>
      </pc:sldChg>
      <pc:sldChg chg="addSp delSp modSp mod">
        <pc:chgData name="Marco Casiraghi" userId="34c8cd23-4fb6-4298-956c-4a0fecec7678" providerId="ADAL" clId="{121DDFE8-C1B3-488F-AA1B-7A2D8DFD306D}" dt="2026-01-30T19:04:39.939" v="2531"/>
        <pc:sldMkLst>
          <pc:docMk/>
          <pc:sldMk cId="1304441920" sldId="2147478879"/>
        </pc:sldMkLst>
        <pc:spChg chg="add del mod modVis">
          <ac:chgData name="Marco Casiraghi" userId="34c8cd23-4fb6-4298-956c-4a0fecec7678" providerId="ADAL" clId="{121DDFE8-C1B3-488F-AA1B-7A2D8DFD306D}" dt="2026-01-30T19:04:39.937" v="2529"/>
          <ac:spMkLst>
            <pc:docMk/>
            <pc:sldMk cId="1304441920" sldId="2147478879"/>
            <ac:spMk id="2" creationId="{868B74E2-B673-2251-7F56-17C98C7F8385}"/>
          </ac:spMkLst>
        </pc:spChg>
        <pc:spChg chg="mod">
          <ac:chgData name="Marco Casiraghi" userId="34c8cd23-4fb6-4298-956c-4a0fecec7678" providerId="ADAL" clId="{121DDFE8-C1B3-488F-AA1B-7A2D8DFD306D}" dt="2026-01-30T19:04:39.896" v="2507" actId="948"/>
          <ac:spMkLst>
            <pc:docMk/>
            <pc:sldMk cId="1304441920" sldId="2147478879"/>
            <ac:spMk id="273" creationId="{A06623B2-EEDA-FB05-E340-637E39C8A3AF}"/>
          </ac:spMkLst>
        </pc:spChg>
        <pc:graphicFrameChg chg="mod">
          <ac:chgData name="Marco Casiraghi" userId="34c8cd23-4fb6-4298-956c-4a0fecec7678" providerId="ADAL" clId="{121DDFE8-C1B3-488F-AA1B-7A2D8DFD306D}" dt="2026-01-30T19:04:39.939" v="2531"/>
          <ac:graphicFrameMkLst>
            <pc:docMk/>
            <pc:sldMk cId="1304441920" sldId="2147478879"/>
            <ac:graphicFrameMk id="212" creationId="{E866E5C8-731F-0AD4-FEE7-8F2AB3F376FE}"/>
          </ac:graphicFrameMkLst>
        </pc:graphicFrameChg>
      </pc:sldChg>
      <pc:sldChg chg="addSp delSp modSp mod">
        <pc:chgData name="Marco Casiraghi" userId="34c8cd23-4fb6-4298-956c-4a0fecec7678" providerId="ADAL" clId="{121DDFE8-C1B3-488F-AA1B-7A2D8DFD306D}" dt="2026-01-30T19:04:42.194" v="2557"/>
        <pc:sldMkLst>
          <pc:docMk/>
          <pc:sldMk cId="2379947449" sldId="2147478880"/>
        </pc:sldMkLst>
        <pc:spChg chg="add del mod modVis">
          <ac:chgData name="Marco Casiraghi" userId="34c8cd23-4fb6-4298-956c-4a0fecec7678" providerId="ADAL" clId="{121DDFE8-C1B3-488F-AA1B-7A2D8DFD306D}" dt="2026-01-30T19:04:42.193" v="2555"/>
          <ac:spMkLst>
            <pc:docMk/>
            <pc:sldMk cId="2379947449" sldId="2147478880"/>
            <ac:spMk id="2" creationId="{876B51E4-715C-18E0-79DA-4246E91D337D}"/>
          </ac:spMkLst>
        </pc:spChg>
        <pc:spChg chg="mod">
          <ac:chgData name="Marco Casiraghi" userId="34c8cd23-4fb6-4298-956c-4a0fecec7678" providerId="ADAL" clId="{121DDFE8-C1B3-488F-AA1B-7A2D8DFD306D}" dt="2026-01-30T19:04:42.155" v="2533" actId="948"/>
          <ac:spMkLst>
            <pc:docMk/>
            <pc:sldMk cId="2379947449" sldId="2147478880"/>
            <ac:spMk id="273" creationId="{B98702C2-CC4C-3A15-0EEA-9D2FFD2827F8}"/>
          </ac:spMkLst>
        </pc:spChg>
        <pc:graphicFrameChg chg="mod">
          <ac:chgData name="Marco Casiraghi" userId="34c8cd23-4fb6-4298-956c-4a0fecec7678" providerId="ADAL" clId="{121DDFE8-C1B3-488F-AA1B-7A2D8DFD306D}" dt="2026-01-30T19:04:42.194" v="2557"/>
          <ac:graphicFrameMkLst>
            <pc:docMk/>
            <pc:sldMk cId="2379947449" sldId="2147478880"/>
            <ac:graphicFrameMk id="212" creationId="{25A453C9-B999-CAA9-33CF-7476F2CB84F2}"/>
          </ac:graphicFrameMkLst>
        </pc:graphicFrameChg>
      </pc:sldChg>
      <pc:sldChg chg="addSp delSp modSp mod">
        <pc:chgData name="Marco Casiraghi" userId="34c8cd23-4fb6-4298-956c-4a0fecec7678" providerId="ADAL" clId="{121DDFE8-C1B3-488F-AA1B-7A2D8DFD306D}" dt="2026-01-30T19:04:45.353" v="2583"/>
        <pc:sldMkLst>
          <pc:docMk/>
          <pc:sldMk cId="3936352065" sldId="2147478881"/>
        </pc:sldMkLst>
        <pc:spChg chg="add del mod modVis">
          <ac:chgData name="Marco Casiraghi" userId="34c8cd23-4fb6-4298-956c-4a0fecec7678" providerId="ADAL" clId="{121DDFE8-C1B3-488F-AA1B-7A2D8DFD306D}" dt="2026-01-30T19:04:45.352" v="2581"/>
          <ac:spMkLst>
            <pc:docMk/>
            <pc:sldMk cId="3936352065" sldId="2147478881"/>
            <ac:spMk id="2" creationId="{EA58A4B4-8B21-763D-2B7B-EE7444E994B4}"/>
          </ac:spMkLst>
        </pc:spChg>
        <pc:spChg chg="mod">
          <ac:chgData name="Marco Casiraghi" userId="34c8cd23-4fb6-4298-956c-4a0fecec7678" providerId="ADAL" clId="{121DDFE8-C1B3-488F-AA1B-7A2D8DFD306D}" dt="2026-01-30T19:04:45.319" v="2559" actId="948"/>
          <ac:spMkLst>
            <pc:docMk/>
            <pc:sldMk cId="3936352065" sldId="2147478881"/>
            <ac:spMk id="273" creationId="{D8FED7C7-5EC2-D120-69B4-7AB8223D11C6}"/>
          </ac:spMkLst>
        </pc:spChg>
        <pc:graphicFrameChg chg="mod">
          <ac:chgData name="Marco Casiraghi" userId="34c8cd23-4fb6-4298-956c-4a0fecec7678" providerId="ADAL" clId="{121DDFE8-C1B3-488F-AA1B-7A2D8DFD306D}" dt="2026-01-30T19:04:45.353" v="2583"/>
          <ac:graphicFrameMkLst>
            <pc:docMk/>
            <pc:sldMk cId="3936352065" sldId="2147478881"/>
            <ac:graphicFrameMk id="212" creationId="{6A806544-F3A3-AD46-4C28-13F15BAC2D2C}"/>
          </ac:graphicFrameMkLst>
        </pc:graphicFrameChg>
      </pc:sldChg>
      <pc:sldMasterChg chg="delSldLayout">
        <pc:chgData name="Marco Casiraghi" userId="34c8cd23-4fb6-4298-956c-4a0fecec7678" providerId="ADAL" clId="{121DDFE8-C1B3-488F-AA1B-7A2D8DFD306D}" dt="2026-01-30T01:18:00.346" v="191" actId="47"/>
        <pc:sldMasterMkLst>
          <pc:docMk/>
          <pc:sldMasterMk cId="2969229741" sldId="2147483648"/>
        </pc:sldMasterMkLst>
        <pc:sldLayoutChg chg="del">
          <pc:chgData name="Marco Casiraghi" userId="34c8cd23-4fb6-4298-956c-4a0fecec7678" providerId="ADAL" clId="{121DDFE8-C1B3-488F-AA1B-7A2D8DFD306D}" dt="2026-01-30T01:18:00.346" v="191" actId="47"/>
          <pc:sldLayoutMkLst>
            <pc:docMk/>
            <pc:sldMasterMk cId="2969229741" sldId="2147483648"/>
            <pc:sldLayoutMk cId="3010073423" sldId="2147483897"/>
          </pc:sldLayoutMkLst>
        </pc:sldLayoutChg>
      </pc:sldMasterChg>
    </pc:docChg>
  </pc:docChgLst>
  <pc:docChgLst>
    <pc:chgData name="Jesse Noffsinger" userId="bc07d745-5b3a-4e8f-8554-c306a9634248" providerId="ADAL" clId="{FB32765A-8B8A-4B6E-8BA0-55F32919167A}"/>
    <pc:docChg chg="custSel addSld delSld modSld sldOrd">
      <pc:chgData name="Jesse Noffsinger" userId="bc07d745-5b3a-4e8f-8554-c306a9634248" providerId="ADAL" clId="{FB32765A-8B8A-4B6E-8BA0-55F32919167A}" dt="2026-01-30T19:13:37.260" v="711"/>
      <pc:docMkLst>
        <pc:docMk/>
      </pc:docMkLst>
      <pc:sldChg chg="delSp modSp mod">
        <pc:chgData name="Jesse Noffsinger" userId="bc07d745-5b3a-4e8f-8554-c306a9634248" providerId="ADAL" clId="{FB32765A-8B8A-4B6E-8BA0-55F32919167A}" dt="2026-01-30T18:38:48.405" v="293" actId="20577"/>
        <pc:sldMkLst>
          <pc:docMk/>
          <pc:sldMk cId="3144878466" sldId="2147478764"/>
        </pc:sldMkLst>
        <pc:spChg chg="mod">
          <ac:chgData name="Jesse Noffsinger" userId="bc07d745-5b3a-4e8f-8554-c306a9634248" providerId="ADAL" clId="{FB32765A-8B8A-4B6E-8BA0-55F32919167A}" dt="2026-01-30T18:37:27.635" v="270" actId="20577"/>
          <ac:spMkLst>
            <pc:docMk/>
            <pc:sldMk cId="3144878466" sldId="2147478764"/>
            <ac:spMk id="3" creationId="{C7B70E29-7865-07F9-AA9C-2125CC131C91}"/>
          </ac:spMkLst>
        </pc:spChg>
        <pc:spChg chg="mod">
          <ac:chgData name="Jesse Noffsinger" userId="bc07d745-5b3a-4e8f-8554-c306a9634248" providerId="ADAL" clId="{FB32765A-8B8A-4B6E-8BA0-55F32919167A}" dt="2026-01-30T18:30:37.894" v="61" actId="14100"/>
          <ac:spMkLst>
            <pc:docMk/>
            <pc:sldMk cId="3144878466" sldId="2147478764"/>
            <ac:spMk id="10" creationId="{B39C4E1D-6D1B-FB84-D9B0-3A5369023DDD}"/>
          </ac:spMkLst>
        </pc:spChg>
        <pc:spChg chg="mod topLvl">
          <ac:chgData name="Jesse Noffsinger" userId="bc07d745-5b3a-4e8f-8554-c306a9634248" providerId="ADAL" clId="{FB32765A-8B8A-4B6E-8BA0-55F32919167A}" dt="2026-01-30T18:30:30.952" v="60" actId="165"/>
          <ac:spMkLst>
            <pc:docMk/>
            <pc:sldMk cId="3144878466" sldId="2147478764"/>
            <ac:spMk id="13" creationId="{5DA71497-8E8F-1E4D-3F7F-1D7719757907}"/>
          </ac:spMkLst>
        </pc:spChg>
        <pc:spChg chg="mod">
          <ac:chgData name="Jesse Noffsinger" userId="bc07d745-5b3a-4e8f-8554-c306a9634248" providerId="ADAL" clId="{FB32765A-8B8A-4B6E-8BA0-55F32919167A}" dt="2026-01-30T18:35:08.319" v="249" actId="20577"/>
          <ac:spMkLst>
            <pc:docMk/>
            <pc:sldMk cId="3144878466" sldId="2147478764"/>
            <ac:spMk id="15" creationId="{94C3F77D-A4BA-DC50-4082-B0ABEBCB37D6}"/>
          </ac:spMkLst>
        </pc:spChg>
        <pc:spChg chg="mod">
          <ac:chgData name="Jesse Noffsinger" userId="bc07d745-5b3a-4e8f-8554-c306a9634248" providerId="ADAL" clId="{FB32765A-8B8A-4B6E-8BA0-55F32919167A}" dt="2026-01-30T18:30:37.894" v="61" actId="14100"/>
          <ac:spMkLst>
            <pc:docMk/>
            <pc:sldMk cId="3144878466" sldId="2147478764"/>
            <ac:spMk id="16" creationId="{0E729BE1-B8E1-BD57-36C1-69FC053A4D78}"/>
          </ac:spMkLst>
        </pc:spChg>
        <pc:spChg chg="mod">
          <ac:chgData name="Jesse Noffsinger" userId="bc07d745-5b3a-4e8f-8554-c306a9634248" providerId="ADAL" clId="{FB32765A-8B8A-4B6E-8BA0-55F32919167A}" dt="2026-01-30T18:30:37.894" v="61" actId="14100"/>
          <ac:spMkLst>
            <pc:docMk/>
            <pc:sldMk cId="3144878466" sldId="2147478764"/>
            <ac:spMk id="17" creationId="{36D7D810-B554-3539-85AC-BF771D96B295}"/>
          </ac:spMkLst>
        </pc:spChg>
        <pc:spChg chg="mod topLvl">
          <ac:chgData name="Jesse Noffsinger" userId="bc07d745-5b3a-4e8f-8554-c306a9634248" providerId="ADAL" clId="{FB32765A-8B8A-4B6E-8BA0-55F32919167A}" dt="2026-01-30T18:30:30.952" v="60" actId="165"/>
          <ac:spMkLst>
            <pc:docMk/>
            <pc:sldMk cId="3144878466" sldId="2147478764"/>
            <ac:spMk id="21" creationId="{1982230D-B2EC-6D9F-DC11-156A85E5E195}"/>
          </ac:spMkLst>
        </pc:spChg>
        <pc:spChg chg="mod topLvl">
          <ac:chgData name="Jesse Noffsinger" userId="bc07d745-5b3a-4e8f-8554-c306a9634248" providerId="ADAL" clId="{FB32765A-8B8A-4B6E-8BA0-55F32919167A}" dt="2026-01-30T18:30:30.952" v="60" actId="165"/>
          <ac:spMkLst>
            <pc:docMk/>
            <pc:sldMk cId="3144878466" sldId="2147478764"/>
            <ac:spMk id="22" creationId="{C801523F-FB6C-2AF0-C98A-68E401FCAA8E}"/>
          </ac:spMkLst>
        </pc:spChg>
        <pc:spChg chg="mod topLvl">
          <ac:chgData name="Jesse Noffsinger" userId="bc07d745-5b3a-4e8f-8554-c306a9634248" providerId="ADAL" clId="{FB32765A-8B8A-4B6E-8BA0-55F32919167A}" dt="2026-01-30T18:30:30.952" v="60" actId="165"/>
          <ac:spMkLst>
            <pc:docMk/>
            <pc:sldMk cId="3144878466" sldId="2147478764"/>
            <ac:spMk id="23" creationId="{754F8380-0E9E-6A54-B4E8-2D5BDC93DF4F}"/>
          </ac:spMkLst>
        </pc:spChg>
        <pc:spChg chg="mod topLvl">
          <ac:chgData name="Jesse Noffsinger" userId="bc07d745-5b3a-4e8f-8554-c306a9634248" providerId="ADAL" clId="{FB32765A-8B8A-4B6E-8BA0-55F32919167A}" dt="2026-01-30T18:30:30.952" v="60" actId="165"/>
          <ac:spMkLst>
            <pc:docMk/>
            <pc:sldMk cId="3144878466" sldId="2147478764"/>
            <ac:spMk id="24" creationId="{5D6D313D-57CF-CD5E-1E19-6F2CEB427D63}"/>
          </ac:spMkLst>
        </pc:spChg>
        <pc:spChg chg="mod topLvl">
          <ac:chgData name="Jesse Noffsinger" userId="bc07d745-5b3a-4e8f-8554-c306a9634248" providerId="ADAL" clId="{FB32765A-8B8A-4B6E-8BA0-55F32919167A}" dt="2026-01-30T18:37:56.828" v="277" actId="20577"/>
          <ac:spMkLst>
            <pc:docMk/>
            <pc:sldMk cId="3144878466" sldId="2147478764"/>
            <ac:spMk id="26" creationId="{A8D7BEBF-F0BD-796A-609D-1EF9C4C663A7}"/>
          </ac:spMkLst>
        </pc:spChg>
        <pc:spChg chg="mod topLvl">
          <ac:chgData name="Jesse Noffsinger" userId="bc07d745-5b3a-4e8f-8554-c306a9634248" providerId="ADAL" clId="{FB32765A-8B8A-4B6E-8BA0-55F32919167A}" dt="2026-01-30T18:30:37.894" v="61" actId="14100"/>
          <ac:spMkLst>
            <pc:docMk/>
            <pc:sldMk cId="3144878466" sldId="2147478764"/>
            <ac:spMk id="28" creationId="{262FDB61-8824-9E68-EAA3-70BF451CE192}"/>
          </ac:spMkLst>
        </pc:spChg>
        <pc:spChg chg="mod topLvl">
          <ac:chgData name="Jesse Noffsinger" userId="bc07d745-5b3a-4e8f-8554-c306a9634248" providerId="ADAL" clId="{FB32765A-8B8A-4B6E-8BA0-55F32919167A}" dt="2026-01-30T18:30:43.991" v="62" actId="14100"/>
          <ac:spMkLst>
            <pc:docMk/>
            <pc:sldMk cId="3144878466" sldId="2147478764"/>
            <ac:spMk id="47" creationId="{7C7A6715-2ECA-157F-DBD6-4ACBF8DF8878}"/>
          </ac:spMkLst>
        </pc:spChg>
        <pc:spChg chg="mod">
          <ac:chgData name="Jesse Noffsinger" userId="bc07d745-5b3a-4e8f-8554-c306a9634248" providerId="ADAL" clId="{FB32765A-8B8A-4B6E-8BA0-55F32919167A}" dt="2026-01-30T18:30:37.894" v="61" actId="14100"/>
          <ac:spMkLst>
            <pc:docMk/>
            <pc:sldMk cId="3144878466" sldId="2147478764"/>
            <ac:spMk id="48" creationId="{87296815-F6B9-8648-4DE8-FE4A21628D97}"/>
          </ac:spMkLst>
        </pc:spChg>
        <pc:spChg chg="mod topLvl">
          <ac:chgData name="Jesse Noffsinger" userId="bc07d745-5b3a-4e8f-8554-c306a9634248" providerId="ADAL" clId="{FB32765A-8B8A-4B6E-8BA0-55F32919167A}" dt="2026-01-30T18:32:04.632" v="123" actId="6549"/>
          <ac:spMkLst>
            <pc:docMk/>
            <pc:sldMk cId="3144878466" sldId="2147478764"/>
            <ac:spMk id="54" creationId="{ED9FD4A0-CF12-187E-3479-08502E1685C0}"/>
          </ac:spMkLst>
        </pc:spChg>
        <pc:spChg chg="mod">
          <ac:chgData name="Jesse Noffsinger" userId="bc07d745-5b3a-4e8f-8554-c306a9634248" providerId="ADAL" clId="{FB32765A-8B8A-4B6E-8BA0-55F32919167A}" dt="2026-01-30T18:31:34.581" v="111" actId="20577"/>
          <ac:spMkLst>
            <pc:docMk/>
            <pc:sldMk cId="3144878466" sldId="2147478764"/>
            <ac:spMk id="55" creationId="{4B92E664-5E35-D826-D719-91162A1CDECC}"/>
          </ac:spMkLst>
        </pc:spChg>
        <pc:spChg chg="mod">
          <ac:chgData name="Jesse Noffsinger" userId="bc07d745-5b3a-4e8f-8554-c306a9634248" providerId="ADAL" clId="{FB32765A-8B8A-4B6E-8BA0-55F32919167A}" dt="2026-01-30T18:31:42.382" v="112" actId="20577"/>
          <ac:spMkLst>
            <pc:docMk/>
            <pc:sldMk cId="3144878466" sldId="2147478764"/>
            <ac:spMk id="61" creationId="{13B22392-948E-170F-38E3-F084484E1BA7}"/>
          </ac:spMkLst>
        </pc:spChg>
        <pc:spChg chg="mod topLvl">
          <ac:chgData name="Jesse Noffsinger" userId="bc07d745-5b3a-4e8f-8554-c306a9634248" providerId="ADAL" clId="{FB32765A-8B8A-4B6E-8BA0-55F32919167A}" dt="2026-01-30T18:30:37.894" v="61" actId="14100"/>
          <ac:spMkLst>
            <pc:docMk/>
            <pc:sldMk cId="3144878466" sldId="2147478764"/>
            <ac:spMk id="62" creationId="{86799CC8-F2C0-4C83-092D-5ADDD0C4C586}"/>
          </ac:spMkLst>
        </pc:spChg>
        <pc:spChg chg="mod">
          <ac:chgData name="Jesse Noffsinger" userId="bc07d745-5b3a-4e8f-8554-c306a9634248" providerId="ADAL" clId="{FB32765A-8B8A-4B6E-8BA0-55F32919167A}" dt="2026-01-30T18:30:43.991" v="62" actId="14100"/>
          <ac:spMkLst>
            <pc:docMk/>
            <pc:sldMk cId="3144878466" sldId="2147478764"/>
            <ac:spMk id="76" creationId="{25EF557B-213D-C604-4C4B-C349E00B201C}"/>
          </ac:spMkLst>
        </pc:spChg>
        <pc:spChg chg="mod">
          <ac:chgData name="Jesse Noffsinger" userId="bc07d745-5b3a-4e8f-8554-c306a9634248" providerId="ADAL" clId="{FB32765A-8B8A-4B6E-8BA0-55F32919167A}" dt="2026-01-30T18:30:37.894" v="61" actId="14100"/>
          <ac:spMkLst>
            <pc:docMk/>
            <pc:sldMk cId="3144878466" sldId="2147478764"/>
            <ac:spMk id="77" creationId="{B2F96AB3-922A-657F-5FAB-EBB414A14F18}"/>
          </ac:spMkLst>
        </pc:spChg>
        <pc:spChg chg="mod">
          <ac:chgData name="Jesse Noffsinger" userId="bc07d745-5b3a-4e8f-8554-c306a9634248" providerId="ADAL" clId="{FB32765A-8B8A-4B6E-8BA0-55F32919167A}" dt="2026-01-30T18:34:45.465" v="216" actId="20577"/>
          <ac:spMkLst>
            <pc:docMk/>
            <pc:sldMk cId="3144878466" sldId="2147478764"/>
            <ac:spMk id="82" creationId="{C3CB28B7-1D93-20BA-1CA6-2CBECFAA523A}"/>
          </ac:spMkLst>
        </pc:spChg>
        <pc:spChg chg="mod">
          <ac:chgData name="Jesse Noffsinger" userId="bc07d745-5b3a-4e8f-8554-c306a9634248" providerId="ADAL" clId="{FB32765A-8B8A-4B6E-8BA0-55F32919167A}" dt="2026-01-30T18:38:48.405" v="293" actId="20577"/>
          <ac:spMkLst>
            <pc:docMk/>
            <pc:sldMk cId="3144878466" sldId="2147478764"/>
            <ac:spMk id="83" creationId="{2E3F18BB-7E5C-5760-30DA-E03FA3B9D9D4}"/>
          </ac:spMkLst>
        </pc:spChg>
      </pc:sldChg>
      <pc:sldChg chg="modSp mod">
        <pc:chgData name="Jesse Noffsinger" userId="bc07d745-5b3a-4e8f-8554-c306a9634248" providerId="ADAL" clId="{FB32765A-8B8A-4B6E-8BA0-55F32919167A}" dt="2026-01-30T18:36:51.938" v="269" actId="20577"/>
        <pc:sldMkLst>
          <pc:docMk/>
          <pc:sldMk cId="612621599" sldId="2147478765"/>
        </pc:sldMkLst>
        <pc:spChg chg="mod">
          <ac:chgData name="Jesse Noffsinger" userId="bc07d745-5b3a-4e8f-8554-c306a9634248" providerId="ADAL" clId="{FB32765A-8B8A-4B6E-8BA0-55F32919167A}" dt="2026-01-30T18:35:43.073" v="251" actId="20577"/>
          <ac:spMkLst>
            <pc:docMk/>
            <pc:sldMk cId="612621599" sldId="2147478765"/>
            <ac:spMk id="3" creationId="{3CE01FB8-3E75-0F10-0A5D-E6A2E6670DD4}"/>
          </ac:spMkLst>
        </pc:spChg>
        <pc:spChg chg="mod">
          <ac:chgData name="Jesse Noffsinger" userId="bc07d745-5b3a-4e8f-8554-c306a9634248" providerId="ADAL" clId="{FB32765A-8B8A-4B6E-8BA0-55F32919167A}" dt="2026-01-30T18:36:51.938" v="269" actId="20577"/>
          <ac:spMkLst>
            <pc:docMk/>
            <pc:sldMk cId="612621599" sldId="2147478765"/>
            <ac:spMk id="77" creationId="{C542B393-07AA-98C0-54C9-B5AC302E6910}"/>
          </ac:spMkLst>
        </pc:spChg>
      </pc:sldChg>
      <pc:sldChg chg="addSp delSp modSp mod">
        <pc:chgData name="Jesse Noffsinger" userId="bc07d745-5b3a-4e8f-8554-c306a9634248" providerId="ADAL" clId="{FB32765A-8B8A-4B6E-8BA0-55F32919167A}" dt="2026-01-30T18:27:49.911" v="21" actId="1076"/>
        <pc:sldMkLst>
          <pc:docMk/>
          <pc:sldMk cId="1349677510" sldId="2147478766"/>
        </pc:sldMkLst>
        <pc:spChg chg="mod topLvl">
          <ac:chgData name="Jesse Noffsinger" userId="bc07d745-5b3a-4e8f-8554-c306a9634248" providerId="ADAL" clId="{FB32765A-8B8A-4B6E-8BA0-55F32919167A}" dt="2026-01-30T18:27:44.017" v="19" actId="165"/>
          <ac:spMkLst>
            <pc:docMk/>
            <pc:sldMk cId="1349677510" sldId="2147478766"/>
            <ac:spMk id="24" creationId="{9D935772-0740-169C-74D8-014CE4C482D8}"/>
          </ac:spMkLst>
        </pc:spChg>
        <pc:spChg chg="mod topLvl">
          <ac:chgData name="Jesse Noffsinger" userId="bc07d745-5b3a-4e8f-8554-c306a9634248" providerId="ADAL" clId="{FB32765A-8B8A-4B6E-8BA0-55F32919167A}" dt="2026-01-30T18:27:44.017" v="19" actId="165"/>
          <ac:spMkLst>
            <pc:docMk/>
            <pc:sldMk cId="1349677510" sldId="2147478766"/>
            <ac:spMk id="25" creationId="{0F2ECF75-E9FF-DD4D-F648-58921D3155D3}"/>
          </ac:spMkLst>
        </pc:spChg>
        <pc:grpChg chg="del">
          <ac:chgData name="Jesse Noffsinger" userId="bc07d745-5b3a-4e8f-8554-c306a9634248" providerId="ADAL" clId="{FB32765A-8B8A-4B6E-8BA0-55F32919167A}" dt="2026-01-30T18:27:44.017" v="19" actId="165"/>
          <ac:grpSpMkLst>
            <pc:docMk/>
            <pc:sldMk cId="1349677510" sldId="2147478766"/>
            <ac:grpSpMk id="62" creationId="{1964C300-B20E-D3DE-92CE-DD680A2445AD}"/>
          </ac:grpSpMkLst>
        </pc:grpChg>
        <pc:picChg chg="add mod">
          <ac:chgData name="Jesse Noffsinger" userId="bc07d745-5b3a-4e8f-8554-c306a9634248" providerId="ADAL" clId="{FB32765A-8B8A-4B6E-8BA0-55F32919167A}" dt="2026-01-30T18:27:49.911" v="21" actId="1076"/>
          <ac:picMkLst>
            <pc:docMk/>
            <pc:sldMk cId="1349677510" sldId="2147478766"/>
            <ac:picMk id="4" creationId="{77AF0498-67CC-3F71-AB45-D8C4AE0B2EA2}"/>
          </ac:picMkLst>
        </pc:picChg>
        <pc:picChg chg="del mod topLvl">
          <ac:chgData name="Jesse Noffsinger" userId="bc07d745-5b3a-4e8f-8554-c306a9634248" providerId="ADAL" clId="{FB32765A-8B8A-4B6E-8BA0-55F32919167A}" dt="2026-01-30T18:27:46.565" v="20" actId="478"/>
          <ac:picMkLst>
            <pc:docMk/>
            <pc:sldMk cId="1349677510" sldId="2147478766"/>
            <ac:picMk id="26" creationId="{540CBB93-9B31-8349-9D26-A9FAF0115074}"/>
          </ac:picMkLst>
        </pc:picChg>
      </pc:sldChg>
      <pc:sldChg chg="delSp del mod">
        <pc:chgData name="Jesse Noffsinger" userId="bc07d745-5b3a-4e8f-8554-c306a9634248" providerId="ADAL" clId="{FB32765A-8B8A-4B6E-8BA0-55F32919167A}" dt="2026-01-30T18:46:37.067" v="454" actId="47"/>
        <pc:sldMkLst>
          <pc:docMk/>
          <pc:sldMk cId="1077344917" sldId="2147478870"/>
        </pc:sldMkLst>
        <pc:spChg chg="del">
          <ac:chgData name="Jesse Noffsinger" userId="bc07d745-5b3a-4e8f-8554-c306a9634248" providerId="ADAL" clId="{FB32765A-8B8A-4B6E-8BA0-55F32919167A}" dt="2026-01-30T18:40:02.850" v="319" actId="478"/>
          <ac:spMkLst>
            <pc:docMk/>
            <pc:sldMk cId="1077344917" sldId="2147478870"/>
            <ac:spMk id="193" creationId="{3B241D8F-562E-2080-4E8E-A2D9D0E6D055}"/>
          </ac:spMkLst>
        </pc:spChg>
        <pc:spChg chg="del">
          <ac:chgData name="Jesse Noffsinger" userId="bc07d745-5b3a-4e8f-8554-c306a9634248" providerId="ADAL" clId="{FB32765A-8B8A-4B6E-8BA0-55F32919167A}" dt="2026-01-30T18:40:02.850" v="319" actId="478"/>
          <ac:spMkLst>
            <pc:docMk/>
            <pc:sldMk cId="1077344917" sldId="2147478870"/>
            <ac:spMk id="241" creationId="{9CA722C2-B907-2644-4DA3-F92E9E9F7102}"/>
          </ac:spMkLst>
        </pc:spChg>
        <pc:spChg chg="del">
          <ac:chgData name="Jesse Noffsinger" userId="bc07d745-5b3a-4e8f-8554-c306a9634248" providerId="ADAL" clId="{FB32765A-8B8A-4B6E-8BA0-55F32919167A}" dt="2026-01-30T18:40:02.850" v="319" actId="478"/>
          <ac:spMkLst>
            <pc:docMk/>
            <pc:sldMk cId="1077344917" sldId="2147478870"/>
            <ac:spMk id="243" creationId="{7298A527-4DA9-0B19-969F-CEC3C298815A}"/>
          </ac:spMkLst>
        </pc:spChg>
        <pc:spChg chg="del">
          <ac:chgData name="Jesse Noffsinger" userId="bc07d745-5b3a-4e8f-8554-c306a9634248" providerId="ADAL" clId="{FB32765A-8B8A-4B6E-8BA0-55F32919167A}" dt="2026-01-30T18:40:02.850" v="319" actId="478"/>
          <ac:spMkLst>
            <pc:docMk/>
            <pc:sldMk cId="1077344917" sldId="2147478870"/>
            <ac:spMk id="245" creationId="{982A4074-F0DB-388D-0F63-DC4F161515FF}"/>
          </ac:spMkLst>
        </pc:spChg>
        <pc:spChg chg="del">
          <ac:chgData name="Jesse Noffsinger" userId="bc07d745-5b3a-4e8f-8554-c306a9634248" providerId="ADAL" clId="{FB32765A-8B8A-4B6E-8BA0-55F32919167A}" dt="2026-01-30T18:40:02.850" v="319" actId="478"/>
          <ac:spMkLst>
            <pc:docMk/>
            <pc:sldMk cId="1077344917" sldId="2147478870"/>
            <ac:spMk id="247" creationId="{13E25C3E-F506-DCAE-AF14-854D38805D54}"/>
          </ac:spMkLst>
        </pc:spChg>
        <pc:spChg chg="del">
          <ac:chgData name="Jesse Noffsinger" userId="bc07d745-5b3a-4e8f-8554-c306a9634248" providerId="ADAL" clId="{FB32765A-8B8A-4B6E-8BA0-55F32919167A}" dt="2026-01-30T18:40:02.850" v="319" actId="478"/>
          <ac:spMkLst>
            <pc:docMk/>
            <pc:sldMk cId="1077344917" sldId="2147478870"/>
            <ac:spMk id="249" creationId="{166935E3-5BAF-9D11-E273-5F3615E17DFE}"/>
          </ac:spMkLst>
        </pc:spChg>
        <pc:spChg chg="del">
          <ac:chgData name="Jesse Noffsinger" userId="bc07d745-5b3a-4e8f-8554-c306a9634248" providerId="ADAL" clId="{FB32765A-8B8A-4B6E-8BA0-55F32919167A}" dt="2026-01-30T18:40:02.850" v="319" actId="478"/>
          <ac:spMkLst>
            <pc:docMk/>
            <pc:sldMk cId="1077344917" sldId="2147478870"/>
            <ac:spMk id="251" creationId="{4041B5E4-D428-60F2-9ECF-ED2640DACA8A}"/>
          </ac:spMkLst>
        </pc:spChg>
        <pc:spChg chg="del">
          <ac:chgData name="Jesse Noffsinger" userId="bc07d745-5b3a-4e8f-8554-c306a9634248" providerId="ADAL" clId="{FB32765A-8B8A-4B6E-8BA0-55F32919167A}" dt="2026-01-30T18:40:02.850" v="319" actId="478"/>
          <ac:spMkLst>
            <pc:docMk/>
            <pc:sldMk cId="1077344917" sldId="2147478870"/>
            <ac:spMk id="252" creationId="{526F2378-4400-5BCF-F560-DA71A521DB26}"/>
          </ac:spMkLst>
        </pc:spChg>
        <pc:spChg chg="del">
          <ac:chgData name="Jesse Noffsinger" userId="bc07d745-5b3a-4e8f-8554-c306a9634248" providerId="ADAL" clId="{FB32765A-8B8A-4B6E-8BA0-55F32919167A}" dt="2026-01-30T18:40:02.850" v="319" actId="478"/>
          <ac:spMkLst>
            <pc:docMk/>
            <pc:sldMk cId="1077344917" sldId="2147478870"/>
            <ac:spMk id="254" creationId="{46F27D77-23C3-DE03-26EB-1CAB497E64B6}"/>
          </ac:spMkLst>
        </pc:spChg>
        <pc:spChg chg="del">
          <ac:chgData name="Jesse Noffsinger" userId="bc07d745-5b3a-4e8f-8554-c306a9634248" providerId="ADAL" clId="{FB32765A-8B8A-4B6E-8BA0-55F32919167A}" dt="2026-01-30T18:40:02.850" v="319" actId="478"/>
          <ac:spMkLst>
            <pc:docMk/>
            <pc:sldMk cId="1077344917" sldId="2147478870"/>
            <ac:spMk id="255" creationId="{3084B48A-F837-CF69-A1B2-9F15B74A15BD}"/>
          </ac:spMkLst>
        </pc:spChg>
      </pc:sldChg>
      <pc:sldChg chg="addSp delSp modSp mod ord">
        <pc:chgData name="Jesse Noffsinger" userId="bc07d745-5b3a-4e8f-8554-c306a9634248" providerId="ADAL" clId="{FB32765A-8B8A-4B6E-8BA0-55F32919167A}" dt="2026-01-30T19:13:30.276" v="709"/>
        <pc:sldMkLst>
          <pc:docMk/>
          <pc:sldMk cId="2187746652" sldId="2147478873"/>
        </pc:sldMkLst>
        <pc:spChg chg="add mod">
          <ac:chgData name="Jesse Noffsinger" userId="bc07d745-5b3a-4e8f-8554-c306a9634248" providerId="ADAL" clId="{FB32765A-8B8A-4B6E-8BA0-55F32919167A}" dt="2026-01-30T18:47:15.656" v="469" actId="1076"/>
          <ac:spMkLst>
            <pc:docMk/>
            <pc:sldMk cId="2187746652" sldId="2147478873"/>
            <ac:spMk id="2" creationId="{5D9694F2-A7B2-BEBF-6121-D8D8B490A5D2}"/>
          </ac:spMkLst>
        </pc:spChg>
        <pc:spChg chg="add mod">
          <ac:chgData name="Jesse Noffsinger" userId="bc07d745-5b3a-4e8f-8554-c306a9634248" providerId="ADAL" clId="{FB32765A-8B8A-4B6E-8BA0-55F32919167A}" dt="2026-01-30T18:47:10.520" v="468" actId="465"/>
          <ac:spMkLst>
            <pc:docMk/>
            <pc:sldMk cId="2187746652" sldId="2147478873"/>
            <ac:spMk id="3" creationId="{535887E3-7144-15B8-90C4-2AA2B29C3F5F}"/>
          </ac:spMkLst>
        </pc:spChg>
        <pc:spChg chg="add mod">
          <ac:chgData name="Jesse Noffsinger" userId="bc07d745-5b3a-4e8f-8554-c306a9634248" providerId="ADAL" clId="{FB32765A-8B8A-4B6E-8BA0-55F32919167A}" dt="2026-01-30T18:47:15.656" v="469" actId="1076"/>
          <ac:spMkLst>
            <pc:docMk/>
            <pc:sldMk cId="2187746652" sldId="2147478873"/>
            <ac:spMk id="4" creationId="{33D3D158-BE36-8BBF-BC2C-880DD772B005}"/>
          </ac:spMkLst>
        </pc:spChg>
        <pc:spChg chg="add mod">
          <ac:chgData name="Jesse Noffsinger" userId="bc07d745-5b3a-4e8f-8554-c306a9634248" providerId="ADAL" clId="{FB32765A-8B8A-4B6E-8BA0-55F32919167A}" dt="2026-01-30T18:47:15.656" v="469" actId="1076"/>
          <ac:spMkLst>
            <pc:docMk/>
            <pc:sldMk cId="2187746652" sldId="2147478873"/>
            <ac:spMk id="5" creationId="{8A94F700-4081-1D3E-2503-0C2916AF2CC1}"/>
          </ac:spMkLst>
        </pc:spChg>
        <pc:spChg chg="add mod">
          <ac:chgData name="Jesse Noffsinger" userId="bc07d745-5b3a-4e8f-8554-c306a9634248" providerId="ADAL" clId="{FB32765A-8B8A-4B6E-8BA0-55F32919167A}" dt="2026-01-30T18:47:15.656" v="469" actId="1076"/>
          <ac:spMkLst>
            <pc:docMk/>
            <pc:sldMk cId="2187746652" sldId="2147478873"/>
            <ac:spMk id="6" creationId="{FAA09882-D36F-AA9E-3359-08F06A67797E}"/>
          </ac:spMkLst>
        </pc:spChg>
        <pc:spChg chg="add mod">
          <ac:chgData name="Jesse Noffsinger" userId="bc07d745-5b3a-4e8f-8554-c306a9634248" providerId="ADAL" clId="{FB32765A-8B8A-4B6E-8BA0-55F32919167A}" dt="2026-01-30T18:47:15.656" v="469" actId="1076"/>
          <ac:spMkLst>
            <pc:docMk/>
            <pc:sldMk cId="2187746652" sldId="2147478873"/>
            <ac:spMk id="7" creationId="{2F29C41F-B34E-A018-518C-4223D9250E7E}"/>
          </ac:spMkLst>
        </pc:spChg>
        <pc:spChg chg="add mod">
          <ac:chgData name="Jesse Noffsinger" userId="bc07d745-5b3a-4e8f-8554-c306a9634248" providerId="ADAL" clId="{FB32765A-8B8A-4B6E-8BA0-55F32919167A}" dt="2026-01-30T18:47:00.095" v="465" actId="571"/>
          <ac:spMkLst>
            <pc:docMk/>
            <pc:sldMk cId="2187746652" sldId="2147478873"/>
            <ac:spMk id="8" creationId="{0B1776C9-278E-5E0B-5F02-F61E4465FF7D}"/>
          </ac:spMkLst>
        </pc:spChg>
        <pc:spChg chg="add mod">
          <ac:chgData name="Jesse Noffsinger" userId="bc07d745-5b3a-4e8f-8554-c306a9634248" providerId="ADAL" clId="{FB32765A-8B8A-4B6E-8BA0-55F32919167A}" dt="2026-01-30T18:47:15.656" v="469" actId="1076"/>
          <ac:spMkLst>
            <pc:docMk/>
            <pc:sldMk cId="2187746652" sldId="2147478873"/>
            <ac:spMk id="9" creationId="{37CA7F75-2D36-A014-8186-EDBFD6BCB5EB}"/>
          </ac:spMkLst>
        </pc:spChg>
        <pc:spChg chg="add mod">
          <ac:chgData name="Jesse Noffsinger" userId="bc07d745-5b3a-4e8f-8554-c306a9634248" providerId="ADAL" clId="{FB32765A-8B8A-4B6E-8BA0-55F32919167A}" dt="2026-01-30T18:47:00.095" v="465" actId="571"/>
          <ac:spMkLst>
            <pc:docMk/>
            <pc:sldMk cId="2187746652" sldId="2147478873"/>
            <ac:spMk id="10" creationId="{6F0B423E-9F68-0934-36C5-4DE3A2F81872}"/>
          </ac:spMkLst>
        </pc:spChg>
        <pc:spChg chg="add mod">
          <ac:chgData name="Jesse Noffsinger" userId="bc07d745-5b3a-4e8f-8554-c306a9634248" providerId="ADAL" clId="{FB32765A-8B8A-4B6E-8BA0-55F32919167A}" dt="2026-01-30T18:47:15.656" v="469" actId="1076"/>
          <ac:spMkLst>
            <pc:docMk/>
            <pc:sldMk cId="2187746652" sldId="2147478873"/>
            <ac:spMk id="11" creationId="{0F5EFDEF-7542-8F1E-17C1-AE621B5CA8B8}"/>
          </ac:spMkLst>
        </pc:spChg>
        <pc:spChg chg="add mod">
          <ac:chgData name="Jesse Noffsinger" userId="bc07d745-5b3a-4e8f-8554-c306a9634248" providerId="ADAL" clId="{FB32765A-8B8A-4B6E-8BA0-55F32919167A}" dt="2026-01-30T18:47:10.520" v="468" actId="465"/>
          <ac:spMkLst>
            <pc:docMk/>
            <pc:sldMk cId="2187746652" sldId="2147478873"/>
            <ac:spMk id="12" creationId="{0282DE5A-98FE-705E-12D2-503A1F21C130}"/>
          </ac:spMkLst>
        </pc:spChg>
        <pc:spChg chg="add mod">
          <ac:chgData name="Jesse Noffsinger" userId="bc07d745-5b3a-4e8f-8554-c306a9634248" providerId="ADAL" clId="{FB32765A-8B8A-4B6E-8BA0-55F32919167A}" dt="2026-01-30T18:47:15.656" v="469" actId="1076"/>
          <ac:spMkLst>
            <pc:docMk/>
            <pc:sldMk cId="2187746652" sldId="2147478873"/>
            <ac:spMk id="13" creationId="{7CBC2415-0004-0678-8E50-BEA520B9DE3B}"/>
          </ac:spMkLst>
        </pc:spChg>
        <pc:spChg chg="add mod">
          <ac:chgData name="Jesse Noffsinger" userId="bc07d745-5b3a-4e8f-8554-c306a9634248" providerId="ADAL" clId="{FB32765A-8B8A-4B6E-8BA0-55F32919167A}" dt="2026-01-30T18:47:04.469" v="466" actId="571"/>
          <ac:spMkLst>
            <pc:docMk/>
            <pc:sldMk cId="2187746652" sldId="2147478873"/>
            <ac:spMk id="14" creationId="{A78583E5-1FF5-4929-C9D2-E69553647FB1}"/>
          </ac:spMkLst>
        </pc:spChg>
        <pc:spChg chg="add mod">
          <ac:chgData name="Jesse Noffsinger" userId="bc07d745-5b3a-4e8f-8554-c306a9634248" providerId="ADAL" clId="{FB32765A-8B8A-4B6E-8BA0-55F32919167A}" dt="2026-01-30T18:47:15.656" v="469" actId="1076"/>
          <ac:spMkLst>
            <pc:docMk/>
            <pc:sldMk cId="2187746652" sldId="2147478873"/>
            <ac:spMk id="15" creationId="{23E2ECD9-6378-BE7D-57FC-F7CD59438C27}"/>
          </ac:spMkLst>
        </pc:spChg>
        <pc:spChg chg="mod">
          <ac:chgData name="Jesse Noffsinger" userId="bc07d745-5b3a-4e8f-8554-c306a9634248" providerId="ADAL" clId="{FB32765A-8B8A-4B6E-8BA0-55F32919167A}" dt="2026-01-30T18:47:38.812" v="484" actId="1038"/>
          <ac:spMkLst>
            <pc:docMk/>
            <pc:sldMk cId="2187746652" sldId="2147478873"/>
            <ac:spMk id="16" creationId="{E6901FE9-F728-352C-CE11-C224484C1D9D}"/>
          </ac:spMkLst>
        </pc:spChg>
        <pc:spChg chg="mod">
          <ac:chgData name="Jesse Noffsinger" userId="bc07d745-5b3a-4e8f-8554-c306a9634248" providerId="ADAL" clId="{FB32765A-8B8A-4B6E-8BA0-55F32919167A}" dt="2026-01-30T18:48:22.253" v="489" actId="1076"/>
          <ac:spMkLst>
            <pc:docMk/>
            <pc:sldMk cId="2187746652" sldId="2147478873"/>
            <ac:spMk id="18" creationId="{F2743756-1A72-D360-F1AD-9050E621C84B}"/>
          </ac:spMkLst>
        </pc:spChg>
        <pc:spChg chg="mod">
          <ac:chgData name="Jesse Noffsinger" userId="bc07d745-5b3a-4e8f-8554-c306a9634248" providerId="ADAL" clId="{FB32765A-8B8A-4B6E-8BA0-55F32919167A}" dt="2026-01-30T18:48:07.418" v="487" actId="552"/>
          <ac:spMkLst>
            <pc:docMk/>
            <pc:sldMk cId="2187746652" sldId="2147478873"/>
            <ac:spMk id="19" creationId="{5308F9AE-BC61-5BA9-00D8-A81359F90493}"/>
          </ac:spMkLst>
        </pc:spChg>
        <pc:spChg chg="mod">
          <ac:chgData name="Jesse Noffsinger" userId="bc07d745-5b3a-4e8f-8554-c306a9634248" providerId="ADAL" clId="{FB32765A-8B8A-4B6E-8BA0-55F32919167A}" dt="2026-01-30T18:47:38.812" v="484" actId="1038"/>
          <ac:spMkLst>
            <pc:docMk/>
            <pc:sldMk cId="2187746652" sldId="2147478873"/>
            <ac:spMk id="20" creationId="{DE4AE52A-7DB3-2E61-85DA-FBD6E3694161}"/>
          </ac:spMkLst>
        </pc:spChg>
        <pc:spChg chg="add mod">
          <ac:chgData name="Jesse Noffsinger" userId="bc07d745-5b3a-4e8f-8554-c306a9634248" providerId="ADAL" clId="{FB32765A-8B8A-4B6E-8BA0-55F32919167A}" dt="2026-01-30T18:48:30.450" v="490" actId="1076"/>
          <ac:spMkLst>
            <pc:docMk/>
            <pc:sldMk cId="2187746652" sldId="2147478873"/>
            <ac:spMk id="26" creationId="{FADC342C-E245-FD9C-84D8-C1BDDEDC9162}"/>
          </ac:spMkLst>
        </pc:spChg>
        <pc:spChg chg="mod">
          <ac:chgData name="Jesse Noffsinger" userId="bc07d745-5b3a-4e8f-8554-c306a9634248" providerId="ADAL" clId="{FB32765A-8B8A-4B6E-8BA0-55F32919167A}" dt="2026-01-30T18:47:38.812" v="484" actId="1038"/>
          <ac:spMkLst>
            <pc:docMk/>
            <pc:sldMk cId="2187746652" sldId="2147478873"/>
            <ac:spMk id="30" creationId="{7EEF9EF5-94F1-6E1E-6345-8754573F62B6}"/>
          </ac:spMkLst>
        </pc:spChg>
        <pc:spChg chg="mod">
          <ac:chgData name="Jesse Noffsinger" userId="bc07d745-5b3a-4e8f-8554-c306a9634248" providerId="ADAL" clId="{FB32765A-8B8A-4B6E-8BA0-55F32919167A}" dt="2026-01-30T18:47:38.812" v="484" actId="1038"/>
          <ac:spMkLst>
            <pc:docMk/>
            <pc:sldMk cId="2187746652" sldId="2147478873"/>
            <ac:spMk id="32" creationId="{8E2AD794-4120-7341-AD77-7DD6DA03FECA}"/>
          </ac:spMkLst>
        </pc:spChg>
        <pc:spChg chg="mod">
          <ac:chgData name="Jesse Noffsinger" userId="bc07d745-5b3a-4e8f-8554-c306a9634248" providerId="ADAL" clId="{FB32765A-8B8A-4B6E-8BA0-55F32919167A}" dt="2026-01-30T18:47:38.812" v="484" actId="1038"/>
          <ac:spMkLst>
            <pc:docMk/>
            <pc:sldMk cId="2187746652" sldId="2147478873"/>
            <ac:spMk id="34" creationId="{810B5556-C334-AD30-5F61-4571DE72CDC1}"/>
          </ac:spMkLst>
        </pc:spChg>
        <pc:spChg chg="mod">
          <ac:chgData name="Jesse Noffsinger" userId="bc07d745-5b3a-4e8f-8554-c306a9634248" providerId="ADAL" clId="{FB32765A-8B8A-4B6E-8BA0-55F32919167A}" dt="2026-01-30T18:47:38.812" v="484" actId="1038"/>
          <ac:spMkLst>
            <pc:docMk/>
            <pc:sldMk cId="2187746652" sldId="2147478873"/>
            <ac:spMk id="36" creationId="{08A1172A-0C31-397D-9BDC-D45B0E553CCA}"/>
          </ac:spMkLst>
        </pc:spChg>
        <pc:spChg chg="add mod">
          <ac:chgData name="Jesse Noffsinger" userId="bc07d745-5b3a-4e8f-8554-c306a9634248" providerId="ADAL" clId="{FB32765A-8B8A-4B6E-8BA0-55F32919167A}" dt="2026-01-30T18:48:30.450" v="490" actId="1076"/>
          <ac:spMkLst>
            <pc:docMk/>
            <pc:sldMk cId="2187746652" sldId="2147478873"/>
            <ac:spMk id="37" creationId="{5710D9FA-53CA-EC0A-498B-29F5D80F7D92}"/>
          </ac:spMkLst>
        </pc:spChg>
        <pc:spChg chg="mod">
          <ac:chgData name="Jesse Noffsinger" userId="bc07d745-5b3a-4e8f-8554-c306a9634248" providerId="ADAL" clId="{FB32765A-8B8A-4B6E-8BA0-55F32919167A}" dt="2026-01-30T18:47:38.812" v="484" actId="1038"/>
          <ac:spMkLst>
            <pc:docMk/>
            <pc:sldMk cId="2187746652" sldId="2147478873"/>
            <ac:spMk id="38" creationId="{BCA409C3-00CD-29AE-1628-30F9666E1E4D}"/>
          </ac:spMkLst>
        </pc:spChg>
        <pc:spChg chg="add mod">
          <ac:chgData name="Jesse Noffsinger" userId="bc07d745-5b3a-4e8f-8554-c306a9634248" providerId="ADAL" clId="{FB32765A-8B8A-4B6E-8BA0-55F32919167A}" dt="2026-01-30T18:48:30.450" v="490" actId="1076"/>
          <ac:spMkLst>
            <pc:docMk/>
            <pc:sldMk cId="2187746652" sldId="2147478873"/>
            <ac:spMk id="39" creationId="{9DBA5746-2768-A574-B98F-4AE6A9D7DD1B}"/>
          </ac:spMkLst>
        </pc:spChg>
        <pc:spChg chg="mod">
          <ac:chgData name="Jesse Noffsinger" userId="bc07d745-5b3a-4e8f-8554-c306a9634248" providerId="ADAL" clId="{FB32765A-8B8A-4B6E-8BA0-55F32919167A}" dt="2026-01-30T18:47:38.812" v="484" actId="1038"/>
          <ac:spMkLst>
            <pc:docMk/>
            <pc:sldMk cId="2187746652" sldId="2147478873"/>
            <ac:spMk id="44" creationId="{EBF2A3BD-3CC6-7CE2-E035-3123FF774BBB}"/>
          </ac:spMkLst>
        </pc:spChg>
        <pc:spChg chg="add mod">
          <ac:chgData name="Jesse Noffsinger" userId="bc07d745-5b3a-4e8f-8554-c306a9634248" providerId="ADAL" clId="{FB32765A-8B8A-4B6E-8BA0-55F32919167A}" dt="2026-01-30T18:48:30.450" v="490" actId="1076"/>
          <ac:spMkLst>
            <pc:docMk/>
            <pc:sldMk cId="2187746652" sldId="2147478873"/>
            <ac:spMk id="45" creationId="{403C981D-2E60-B7BB-4119-CEFB9F6366FF}"/>
          </ac:spMkLst>
        </pc:spChg>
        <pc:spChg chg="mod">
          <ac:chgData name="Jesse Noffsinger" userId="bc07d745-5b3a-4e8f-8554-c306a9634248" providerId="ADAL" clId="{FB32765A-8B8A-4B6E-8BA0-55F32919167A}" dt="2026-01-30T18:47:38.812" v="484" actId="1038"/>
          <ac:spMkLst>
            <pc:docMk/>
            <pc:sldMk cId="2187746652" sldId="2147478873"/>
            <ac:spMk id="46" creationId="{D50837CB-AF6D-8CC9-5518-08E57803923D}"/>
          </ac:spMkLst>
        </pc:spChg>
        <pc:spChg chg="add mod">
          <ac:chgData name="Jesse Noffsinger" userId="bc07d745-5b3a-4e8f-8554-c306a9634248" providerId="ADAL" clId="{FB32765A-8B8A-4B6E-8BA0-55F32919167A}" dt="2026-01-30T18:48:30.450" v="490" actId="1076"/>
          <ac:spMkLst>
            <pc:docMk/>
            <pc:sldMk cId="2187746652" sldId="2147478873"/>
            <ac:spMk id="48" creationId="{5DE6AC4E-7890-3515-6E88-4C1BBC2011F5}"/>
          </ac:spMkLst>
        </pc:spChg>
        <pc:spChg chg="mod">
          <ac:chgData name="Jesse Noffsinger" userId="bc07d745-5b3a-4e8f-8554-c306a9634248" providerId="ADAL" clId="{FB32765A-8B8A-4B6E-8BA0-55F32919167A}" dt="2026-01-30T18:48:17.063" v="488" actId="1076"/>
          <ac:spMkLst>
            <pc:docMk/>
            <pc:sldMk cId="2187746652" sldId="2147478873"/>
            <ac:spMk id="50" creationId="{300E6D74-F618-3B37-2BE9-6A97D4316A68}"/>
          </ac:spMkLst>
        </pc:spChg>
        <pc:spChg chg="mod">
          <ac:chgData name="Jesse Noffsinger" userId="bc07d745-5b3a-4e8f-8554-c306a9634248" providerId="ADAL" clId="{FB32765A-8B8A-4B6E-8BA0-55F32919167A}" dt="2026-01-30T18:48:17.063" v="488" actId="1076"/>
          <ac:spMkLst>
            <pc:docMk/>
            <pc:sldMk cId="2187746652" sldId="2147478873"/>
            <ac:spMk id="51" creationId="{C6ED682F-823A-221D-3688-B3A94508AC4C}"/>
          </ac:spMkLst>
        </pc:spChg>
        <pc:spChg chg="mod">
          <ac:chgData name="Jesse Noffsinger" userId="bc07d745-5b3a-4e8f-8554-c306a9634248" providerId="ADAL" clId="{FB32765A-8B8A-4B6E-8BA0-55F32919167A}" dt="2026-01-30T18:48:17.063" v="488" actId="1076"/>
          <ac:spMkLst>
            <pc:docMk/>
            <pc:sldMk cId="2187746652" sldId="2147478873"/>
            <ac:spMk id="52" creationId="{1A1A651D-0D31-032C-FDFF-02C7B67D8106}"/>
          </ac:spMkLst>
        </pc:spChg>
        <pc:spChg chg="add mod">
          <ac:chgData name="Jesse Noffsinger" userId="bc07d745-5b3a-4e8f-8554-c306a9634248" providerId="ADAL" clId="{FB32765A-8B8A-4B6E-8BA0-55F32919167A}" dt="2026-01-30T18:48:30.450" v="490" actId="1076"/>
          <ac:spMkLst>
            <pc:docMk/>
            <pc:sldMk cId="2187746652" sldId="2147478873"/>
            <ac:spMk id="53" creationId="{7E6D44D2-2FF6-300C-203D-52FA745F885B}"/>
          </ac:spMkLst>
        </pc:spChg>
        <pc:spChg chg="mod">
          <ac:chgData name="Jesse Noffsinger" userId="bc07d745-5b3a-4e8f-8554-c306a9634248" providerId="ADAL" clId="{FB32765A-8B8A-4B6E-8BA0-55F32919167A}" dt="2026-01-30T18:48:17.063" v="488" actId="1076"/>
          <ac:spMkLst>
            <pc:docMk/>
            <pc:sldMk cId="2187746652" sldId="2147478873"/>
            <ac:spMk id="55" creationId="{F19E2808-D32B-1D1C-2E14-E6A1A33545F0}"/>
          </ac:spMkLst>
        </pc:spChg>
        <pc:spChg chg="mod">
          <ac:chgData name="Jesse Noffsinger" userId="bc07d745-5b3a-4e8f-8554-c306a9634248" providerId="ADAL" clId="{FB32765A-8B8A-4B6E-8BA0-55F32919167A}" dt="2026-01-30T18:48:17.063" v="488" actId="1076"/>
          <ac:spMkLst>
            <pc:docMk/>
            <pc:sldMk cId="2187746652" sldId="2147478873"/>
            <ac:spMk id="56" creationId="{0B725D5F-FB4F-7F6A-3D74-99FB48DED14C}"/>
          </ac:spMkLst>
        </pc:spChg>
        <pc:spChg chg="add mod">
          <ac:chgData name="Jesse Noffsinger" userId="bc07d745-5b3a-4e8f-8554-c306a9634248" providerId="ADAL" clId="{FB32765A-8B8A-4B6E-8BA0-55F32919167A}" dt="2026-01-30T18:48:30.450" v="490" actId="1076"/>
          <ac:spMkLst>
            <pc:docMk/>
            <pc:sldMk cId="2187746652" sldId="2147478873"/>
            <ac:spMk id="57" creationId="{CC7093FD-0C19-EAB6-573B-6029D528F3BD}"/>
          </ac:spMkLst>
        </pc:spChg>
        <pc:spChg chg="add mod">
          <ac:chgData name="Jesse Noffsinger" userId="bc07d745-5b3a-4e8f-8554-c306a9634248" providerId="ADAL" clId="{FB32765A-8B8A-4B6E-8BA0-55F32919167A}" dt="2026-01-30T18:48:30.450" v="490" actId="1076"/>
          <ac:spMkLst>
            <pc:docMk/>
            <pc:sldMk cId="2187746652" sldId="2147478873"/>
            <ac:spMk id="58" creationId="{6376BCA8-177C-28FC-1543-F13D6DEA73F8}"/>
          </ac:spMkLst>
        </pc:spChg>
        <pc:spChg chg="mod">
          <ac:chgData name="Jesse Noffsinger" userId="bc07d745-5b3a-4e8f-8554-c306a9634248" providerId="ADAL" clId="{FB32765A-8B8A-4B6E-8BA0-55F32919167A}" dt="2026-01-30T18:48:22.253" v="489" actId="1076"/>
          <ac:spMkLst>
            <pc:docMk/>
            <pc:sldMk cId="2187746652" sldId="2147478873"/>
            <ac:spMk id="60" creationId="{E2618690-A4E9-B389-9CA1-249A29DAF298}"/>
          </ac:spMkLst>
        </pc:spChg>
        <pc:spChg chg="mod">
          <ac:chgData name="Jesse Noffsinger" userId="bc07d745-5b3a-4e8f-8554-c306a9634248" providerId="ADAL" clId="{FB32765A-8B8A-4B6E-8BA0-55F32919167A}" dt="2026-01-30T18:48:17.063" v="488" actId="1076"/>
          <ac:spMkLst>
            <pc:docMk/>
            <pc:sldMk cId="2187746652" sldId="2147478873"/>
            <ac:spMk id="62" creationId="{8369410A-6538-59DA-4EB4-0FD1725A4910}"/>
          </ac:spMkLst>
        </pc:spChg>
        <pc:spChg chg="mod">
          <ac:chgData name="Jesse Noffsinger" userId="bc07d745-5b3a-4e8f-8554-c306a9634248" providerId="ADAL" clId="{FB32765A-8B8A-4B6E-8BA0-55F32919167A}" dt="2026-01-30T18:48:22.253" v="489" actId="1076"/>
          <ac:spMkLst>
            <pc:docMk/>
            <pc:sldMk cId="2187746652" sldId="2147478873"/>
            <ac:spMk id="63" creationId="{42EDEDC4-3D83-F37C-9B8A-886B0F88F098}"/>
          </ac:spMkLst>
        </pc:spChg>
        <pc:spChg chg="del">
          <ac:chgData name="Jesse Noffsinger" userId="bc07d745-5b3a-4e8f-8554-c306a9634248" providerId="ADAL" clId="{FB32765A-8B8A-4B6E-8BA0-55F32919167A}" dt="2026-01-30T18:47:50.104" v="485" actId="478"/>
          <ac:spMkLst>
            <pc:docMk/>
            <pc:sldMk cId="2187746652" sldId="2147478873"/>
            <ac:spMk id="65" creationId="{43391C22-6E0D-16F0-B94E-2D0F554DA24A}"/>
          </ac:spMkLst>
        </pc:spChg>
        <pc:spChg chg="del">
          <ac:chgData name="Jesse Noffsinger" userId="bc07d745-5b3a-4e8f-8554-c306a9634248" providerId="ADAL" clId="{FB32765A-8B8A-4B6E-8BA0-55F32919167A}" dt="2026-01-30T18:47:50.104" v="485" actId="478"/>
          <ac:spMkLst>
            <pc:docMk/>
            <pc:sldMk cId="2187746652" sldId="2147478873"/>
            <ac:spMk id="66" creationId="{3F26AC2C-EE90-8E84-5DA9-B3D7C569456E}"/>
          </ac:spMkLst>
        </pc:spChg>
        <pc:spChg chg="mod">
          <ac:chgData name="Jesse Noffsinger" userId="bc07d745-5b3a-4e8f-8554-c306a9634248" providerId="ADAL" clId="{FB32765A-8B8A-4B6E-8BA0-55F32919167A}" dt="2026-01-30T18:48:42.601" v="501" actId="20577"/>
          <ac:spMkLst>
            <pc:docMk/>
            <pc:sldMk cId="2187746652" sldId="2147478873"/>
            <ac:spMk id="67" creationId="{AB002830-2BF8-C0BC-0491-455D688DA885}"/>
          </ac:spMkLst>
        </pc:spChg>
        <pc:spChg chg="add mod">
          <ac:chgData name="Jesse Noffsinger" userId="bc07d745-5b3a-4e8f-8554-c306a9634248" providerId="ADAL" clId="{FB32765A-8B8A-4B6E-8BA0-55F32919167A}" dt="2026-01-30T18:47:33.630" v="472" actId="1076"/>
          <ac:spMkLst>
            <pc:docMk/>
            <pc:sldMk cId="2187746652" sldId="2147478873"/>
            <ac:spMk id="68" creationId="{94CC24B4-AB29-1137-20F2-741CC3A49E81}"/>
          </ac:spMkLst>
        </pc:spChg>
        <pc:spChg chg="del">
          <ac:chgData name="Jesse Noffsinger" userId="bc07d745-5b3a-4e8f-8554-c306a9634248" providerId="ADAL" clId="{FB32765A-8B8A-4B6E-8BA0-55F32919167A}" dt="2026-01-30T18:47:50.104" v="485" actId="478"/>
          <ac:spMkLst>
            <pc:docMk/>
            <pc:sldMk cId="2187746652" sldId="2147478873"/>
            <ac:spMk id="69" creationId="{1510EE86-9AB6-1380-F0DD-614E4BCA7513}"/>
          </ac:spMkLst>
        </pc:spChg>
        <pc:spChg chg="del">
          <ac:chgData name="Jesse Noffsinger" userId="bc07d745-5b3a-4e8f-8554-c306a9634248" providerId="ADAL" clId="{FB32765A-8B8A-4B6E-8BA0-55F32919167A}" dt="2026-01-30T18:47:50.104" v="485" actId="478"/>
          <ac:spMkLst>
            <pc:docMk/>
            <pc:sldMk cId="2187746652" sldId="2147478873"/>
            <ac:spMk id="70" creationId="{30BBF002-64CB-E138-197B-7B4B2E639EF6}"/>
          </ac:spMkLst>
        </pc:spChg>
        <pc:spChg chg="del">
          <ac:chgData name="Jesse Noffsinger" userId="bc07d745-5b3a-4e8f-8554-c306a9634248" providerId="ADAL" clId="{FB32765A-8B8A-4B6E-8BA0-55F32919167A}" dt="2026-01-30T18:47:50.104" v="485" actId="478"/>
          <ac:spMkLst>
            <pc:docMk/>
            <pc:sldMk cId="2187746652" sldId="2147478873"/>
            <ac:spMk id="71" creationId="{EAB93C70-2A17-913B-8C6D-BAE959FCB93E}"/>
          </ac:spMkLst>
        </pc:spChg>
        <pc:spChg chg="del">
          <ac:chgData name="Jesse Noffsinger" userId="bc07d745-5b3a-4e8f-8554-c306a9634248" providerId="ADAL" clId="{FB32765A-8B8A-4B6E-8BA0-55F32919167A}" dt="2026-01-30T18:47:50.104" v="485" actId="478"/>
          <ac:spMkLst>
            <pc:docMk/>
            <pc:sldMk cId="2187746652" sldId="2147478873"/>
            <ac:spMk id="73" creationId="{E6F8B07D-E286-F9F4-8CA7-866812317490}"/>
          </ac:spMkLst>
        </pc:spChg>
        <pc:spChg chg="del">
          <ac:chgData name="Jesse Noffsinger" userId="bc07d745-5b3a-4e8f-8554-c306a9634248" providerId="ADAL" clId="{FB32765A-8B8A-4B6E-8BA0-55F32919167A}" dt="2026-01-30T18:47:50.104" v="485" actId="478"/>
          <ac:spMkLst>
            <pc:docMk/>
            <pc:sldMk cId="2187746652" sldId="2147478873"/>
            <ac:spMk id="74" creationId="{95506F65-D071-9DFB-4176-B0AC44E484CF}"/>
          </ac:spMkLst>
        </pc:spChg>
        <pc:spChg chg="add mod">
          <ac:chgData name="Jesse Noffsinger" userId="bc07d745-5b3a-4e8f-8554-c306a9634248" providerId="ADAL" clId="{FB32765A-8B8A-4B6E-8BA0-55F32919167A}" dt="2026-01-30T18:47:33.630" v="472" actId="1076"/>
          <ac:spMkLst>
            <pc:docMk/>
            <pc:sldMk cId="2187746652" sldId="2147478873"/>
            <ac:spMk id="75" creationId="{0DFD63EE-CD9A-6104-1BF8-C89643DEB310}"/>
          </ac:spMkLst>
        </pc:spChg>
        <pc:spChg chg="del">
          <ac:chgData name="Jesse Noffsinger" userId="bc07d745-5b3a-4e8f-8554-c306a9634248" providerId="ADAL" clId="{FB32765A-8B8A-4B6E-8BA0-55F32919167A}" dt="2026-01-30T18:47:50.104" v="485" actId="478"/>
          <ac:spMkLst>
            <pc:docMk/>
            <pc:sldMk cId="2187746652" sldId="2147478873"/>
            <ac:spMk id="76" creationId="{3F84ABDC-A8A7-AA7E-064D-EE755CB94282}"/>
          </ac:spMkLst>
        </pc:spChg>
        <pc:spChg chg="mod">
          <ac:chgData name="Jesse Noffsinger" userId="bc07d745-5b3a-4e8f-8554-c306a9634248" providerId="ADAL" clId="{FB32765A-8B8A-4B6E-8BA0-55F32919167A}" dt="2026-01-30T18:46:42.832" v="455" actId="1076"/>
          <ac:spMkLst>
            <pc:docMk/>
            <pc:sldMk cId="2187746652" sldId="2147478873"/>
            <ac:spMk id="80" creationId="{AAA68544-77CD-502B-3EB6-782F408A1FFA}"/>
          </ac:spMkLst>
        </pc:spChg>
        <pc:spChg chg="mod">
          <ac:chgData name="Jesse Noffsinger" userId="bc07d745-5b3a-4e8f-8554-c306a9634248" providerId="ADAL" clId="{FB32765A-8B8A-4B6E-8BA0-55F32919167A}" dt="2026-01-30T18:46:42.832" v="455" actId="1076"/>
          <ac:spMkLst>
            <pc:docMk/>
            <pc:sldMk cId="2187746652" sldId="2147478873"/>
            <ac:spMk id="90" creationId="{76CDBE0C-314C-B790-A480-00E438017D45}"/>
          </ac:spMkLst>
        </pc:spChg>
        <pc:spChg chg="mod">
          <ac:chgData name="Jesse Noffsinger" userId="bc07d745-5b3a-4e8f-8554-c306a9634248" providerId="ADAL" clId="{FB32765A-8B8A-4B6E-8BA0-55F32919167A}" dt="2026-01-30T18:47:19.192" v="470" actId="1076"/>
          <ac:spMkLst>
            <pc:docMk/>
            <pc:sldMk cId="2187746652" sldId="2147478873"/>
            <ac:spMk id="107" creationId="{8B413D30-71D8-D4A8-649F-3DBBBF6403BF}"/>
          </ac:spMkLst>
        </pc:spChg>
        <pc:spChg chg="del">
          <ac:chgData name="Jesse Noffsinger" userId="bc07d745-5b3a-4e8f-8554-c306a9634248" providerId="ADAL" clId="{FB32765A-8B8A-4B6E-8BA0-55F32919167A}" dt="2026-01-30T18:47:50.104" v="485" actId="478"/>
          <ac:spMkLst>
            <pc:docMk/>
            <pc:sldMk cId="2187746652" sldId="2147478873"/>
            <ac:spMk id="108" creationId="{D734E1A6-94B8-40A7-9C01-0EED1F1AA1C1}"/>
          </ac:spMkLst>
        </pc:spChg>
        <pc:spChg chg="del">
          <ac:chgData name="Jesse Noffsinger" userId="bc07d745-5b3a-4e8f-8554-c306a9634248" providerId="ADAL" clId="{FB32765A-8B8A-4B6E-8BA0-55F32919167A}" dt="2026-01-30T18:47:50.104" v="485" actId="478"/>
          <ac:spMkLst>
            <pc:docMk/>
            <pc:sldMk cId="2187746652" sldId="2147478873"/>
            <ac:spMk id="111" creationId="{C3E2FEF4-06D2-F1BF-798A-90C12B8B3FD4}"/>
          </ac:spMkLst>
        </pc:spChg>
        <pc:spChg chg="add mod">
          <ac:chgData name="Jesse Noffsinger" userId="bc07d745-5b3a-4e8f-8554-c306a9634248" providerId="ADAL" clId="{FB32765A-8B8A-4B6E-8BA0-55F32919167A}" dt="2026-01-30T18:48:22.253" v="489" actId="1076"/>
          <ac:spMkLst>
            <pc:docMk/>
            <pc:sldMk cId="2187746652" sldId="2147478873"/>
            <ac:spMk id="113" creationId="{9C2263F7-5778-787A-5F72-499A97B53623}"/>
          </ac:spMkLst>
        </pc:spChg>
        <pc:spChg chg="add mod">
          <ac:chgData name="Jesse Noffsinger" userId="bc07d745-5b3a-4e8f-8554-c306a9634248" providerId="ADAL" clId="{FB32765A-8B8A-4B6E-8BA0-55F32919167A}" dt="2026-01-30T18:48:02.455" v="486" actId="571"/>
          <ac:spMkLst>
            <pc:docMk/>
            <pc:sldMk cId="2187746652" sldId="2147478873"/>
            <ac:spMk id="114" creationId="{A5AFE3F2-A537-55B6-25E6-E99E6778AD78}"/>
          </ac:spMkLst>
        </pc:spChg>
        <pc:spChg chg="add mod">
          <ac:chgData name="Jesse Noffsinger" userId="bc07d745-5b3a-4e8f-8554-c306a9634248" providerId="ADAL" clId="{FB32765A-8B8A-4B6E-8BA0-55F32919167A}" dt="2026-01-30T18:48:07.418" v="487" actId="552"/>
          <ac:spMkLst>
            <pc:docMk/>
            <pc:sldMk cId="2187746652" sldId="2147478873"/>
            <ac:spMk id="115" creationId="{B4B2A933-7968-1922-905E-305D5E280CFC}"/>
          </ac:spMkLst>
        </pc:spChg>
        <pc:spChg chg="add mod">
          <ac:chgData name="Jesse Noffsinger" userId="bc07d745-5b3a-4e8f-8554-c306a9634248" providerId="ADAL" clId="{FB32765A-8B8A-4B6E-8BA0-55F32919167A}" dt="2026-01-30T18:48:22.253" v="489" actId="1076"/>
          <ac:spMkLst>
            <pc:docMk/>
            <pc:sldMk cId="2187746652" sldId="2147478873"/>
            <ac:spMk id="116" creationId="{D9CC185A-DA22-1DC2-85BD-581635ED932D}"/>
          </ac:spMkLst>
        </pc:spChg>
        <pc:spChg chg="add mod">
          <ac:chgData name="Jesse Noffsinger" userId="bc07d745-5b3a-4e8f-8554-c306a9634248" providerId="ADAL" clId="{FB32765A-8B8A-4B6E-8BA0-55F32919167A}" dt="2026-01-30T18:48:22.253" v="489" actId="1076"/>
          <ac:spMkLst>
            <pc:docMk/>
            <pc:sldMk cId="2187746652" sldId="2147478873"/>
            <ac:spMk id="117" creationId="{7F547FC3-CEEE-9D6D-B7C0-9AD3A2248C07}"/>
          </ac:spMkLst>
        </pc:spChg>
        <pc:spChg chg="add mod">
          <ac:chgData name="Jesse Noffsinger" userId="bc07d745-5b3a-4e8f-8554-c306a9634248" providerId="ADAL" clId="{FB32765A-8B8A-4B6E-8BA0-55F32919167A}" dt="2026-01-30T18:48:07.418" v="487" actId="552"/>
          <ac:spMkLst>
            <pc:docMk/>
            <pc:sldMk cId="2187746652" sldId="2147478873"/>
            <ac:spMk id="118" creationId="{B7CF7D76-D7B7-9931-0481-10B21EE50CF8}"/>
          </ac:spMkLst>
        </pc:spChg>
        <pc:spChg chg="add mod">
          <ac:chgData name="Jesse Noffsinger" userId="bc07d745-5b3a-4e8f-8554-c306a9634248" providerId="ADAL" clId="{FB32765A-8B8A-4B6E-8BA0-55F32919167A}" dt="2026-01-30T18:48:07.418" v="487" actId="552"/>
          <ac:spMkLst>
            <pc:docMk/>
            <pc:sldMk cId="2187746652" sldId="2147478873"/>
            <ac:spMk id="119" creationId="{011F77E6-172E-E203-22D8-989F175517B1}"/>
          </ac:spMkLst>
        </pc:spChg>
        <pc:spChg chg="add mod">
          <ac:chgData name="Jesse Noffsinger" userId="bc07d745-5b3a-4e8f-8554-c306a9634248" providerId="ADAL" clId="{FB32765A-8B8A-4B6E-8BA0-55F32919167A}" dt="2026-01-30T18:48:22.253" v="489" actId="1076"/>
          <ac:spMkLst>
            <pc:docMk/>
            <pc:sldMk cId="2187746652" sldId="2147478873"/>
            <ac:spMk id="120" creationId="{C97D7563-3562-D449-A9E6-4A1302A10499}"/>
          </ac:spMkLst>
        </pc:spChg>
        <pc:spChg chg="mod">
          <ac:chgData name="Jesse Noffsinger" userId="bc07d745-5b3a-4e8f-8554-c306a9634248" providerId="ADAL" clId="{FB32765A-8B8A-4B6E-8BA0-55F32919167A}" dt="2026-01-30T18:48:22.253" v="489" actId="1076"/>
          <ac:spMkLst>
            <pc:docMk/>
            <pc:sldMk cId="2187746652" sldId="2147478873"/>
            <ac:spMk id="122" creationId="{1C362AB1-1748-B571-89ED-546B5FECB988}"/>
          </ac:spMkLst>
        </pc:spChg>
        <pc:spChg chg="add mod">
          <ac:chgData name="Jesse Noffsinger" userId="bc07d745-5b3a-4e8f-8554-c306a9634248" providerId="ADAL" clId="{FB32765A-8B8A-4B6E-8BA0-55F32919167A}" dt="2026-01-30T18:48:30.450" v="490" actId="1076"/>
          <ac:spMkLst>
            <pc:docMk/>
            <pc:sldMk cId="2187746652" sldId="2147478873"/>
            <ac:spMk id="123" creationId="{E40FFC6B-89B0-B41A-A806-CE7E744505A5}"/>
          </ac:spMkLst>
        </pc:spChg>
        <pc:spChg chg="add mod">
          <ac:chgData name="Jesse Noffsinger" userId="bc07d745-5b3a-4e8f-8554-c306a9634248" providerId="ADAL" clId="{FB32765A-8B8A-4B6E-8BA0-55F32919167A}" dt="2026-01-30T18:48:30.450" v="490" actId="1076"/>
          <ac:spMkLst>
            <pc:docMk/>
            <pc:sldMk cId="2187746652" sldId="2147478873"/>
            <ac:spMk id="125" creationId="{F906A10A-9F73-1A45-B969-B0B89F8FE65E}"/>
          </ac:spMkLst>
        </pc:spChg>
        <pc:spChg chg="mod">
          <ac:chgData name="Jesse Noffsinger" userId="bc07d745-5b3a-4e8f-8554-c306a9634248" providerId="ADAL" clId="{FB32765A-8B8A-4B6E-8BA0-55F32919167A}" dt="2026-01-30T18:46:42.832" v="455" actId="1076"/>
          <ac:spMkLst>
            <pc:docMk/>
            <pc:sldMk cId="2187746652" sldId="2147478873"/>
            <ac:spMk id="127" creationId="{4757216E-6EAA-C974-D23E-6D1ABEB7B21C}"/>
          </ac:spMkLst>
        </pc:spChg>
        <pc:spChg chg="add mod">
          <ac:chgData name="Jesse Noffsinger" userId="bc07d745-5b3a-4e8f-8554-c306a9634248" providerId="ADAL" clId="{FB32765A-8B8A-4B6E-8BA0-55F32919167A}" dt="2026-01-30T18:48:35.413" v="491"/>
          <ac:spMkLst>
            <pc:docMk/>
            <pc:sldMk cId="2187746652" sldId="2147478873"/>
            <ac:spMk id="128" creationId="{3F336B0B-0C70-6E1B-B15D-C2514A4ECAF8}"/>
          </ac:spMkLst>
        </pc:spChg>
        <pc:spChg chg="add del mod modVis">
          <ac:chgData name="Jesse Noffsinger" userId="bc07d745-5b3a-4e8f-8554-c306a9634248" providerId="ADAL" clId="{FB32765A-8B8A-4B6E-8BA0-55F32919167A}" dt="2026-01-30T18:48:57.981" v="608"/>
          <ac:spMkLst>
            <pc:docMk/>
            <pc:sldMk cId="2187746652" sldId="2147478873"/>
            <ac:spMk id="129" creationId="{541DCAC5-8744-66DE-8DBD-F6A8D002FD0B}"/>
          </ac:spMkLst>
        </pc:spChg>
        <pc:spChg chg="add del mod modVis">
          <ac:chgData name="Jesse Noffsinger" userId="bc07d745-5b3a-4e8f-8554-c306a9634248" providerId="ADAL" clId="{FB32765A-8B8A-4B6E-8BA0-55F32919167A}" dt="2026-01-30T18:49:00.835" v="641"/>
          <ac:spMkLst>
            <pc:docMk/>
            <pc:sldMk cId="2187746652" sldId="2147478873"/>
            <ac:spMk id="130" creationId="{EB70EB69-3ABA-30DD-8BA4-64715C941DDA}"/>
          </ac:spMkLst>
        </pc:spChg>
        <pc:spChg chg="mod">
          <ac:chgData name="Jesse Noffsinger" userId="bc07d745-5b3a-4e8f-8554-c306a9634248" providerId="ADAL" clId="{FB32765A-8B8A-4B6E-8BA0-55F32919167A}" dt="2026-01-30T18:47:15.656" v="469" actId="1076"/>
          <ac:spMkLst>
            <pc:docMk/>
            <pc:sldMk cId="2187746652" sldId="2147478873"/>
            <ac:spMk id="176" creationId="{C0EE4DCB-C80F-BFC1-0375-CA2841B29C14}"/>
          </ac:spMkLst>
        </pc:spChg>
        <pc:spChg chg="mod">
          <ac:chgData name="Jesse Noffsinger" userId="bc07d745-5b3a-4e8f-8554-c306a9634248" providerId="ADAL" clId="{FB32765A-8B8A-4B6E-8BA0-55F32919167A}" dt="2026-01-30T18:47:19.192" v="470" actId="1076"/>
          <ac:spMkLst>
            <pc:docMk/>
            <pc:sldMk cId="2187746652" sldId="2147478873"/>
            <ac:spMk id="213" creationId="{3059DC78-634B-9EB2-C563-E7F432231C89}"/>
          </ac:spMkLst>
        </pc:spChg>
        <pc:spChg chg="mod">
          <ac:chgData name="Jesse Noffsinger" userId="bc07d745-5b3a-4e8f-8554-c306a9634248" providerId="ADAL" clId="{FB32765A-8B8A-4B6E-8BA0-55F32919167A}" dt="2026-01-30T18:47:19.192" v="470" actId="1076"/>
          <ac:spMkLst>
            <pc:docMk/>
            <pc:sldMk cId="2187746652" sldId="2147478873"/>
            <ac:spMk id="214" creationId="{50802B11-C0BD-891F-52B2-AEAC6D6632CD}"/>
          </ac:spMkLst>
        </pc:spChg>
        <pc:spChg chg="mod">
          <ac:chgData name="Jesse Noffsinger" userId="bc07d745-5b3a-4e8f-8554-c306a9634248" providerId="ADAL" clId="{FB32765A-8B8A-4B6E-8BA0-55F32919167A}" dt="2026-01-30T18:46:42.832" v="455" actId="1076"/>
          <ac:spMkLst>
            <pc:docMk/>
            <pc:sldMk cId="2187746652" sldId="2147478873"/>
            <ac:spMk id="215" creationId="{ADE5CFFC-4065-7777-83C2-F8026B03C21C}"/>
          </ac:spMkLst>
        </pc:spChg>
        <pc:spChg chg="mod">
          <ac:chgData name="Jesse Noffsinger" userId="bc07d745-5b3a-4e8f-8554-c306a9634248" providerId="ADAL" clId="{FB32765A-8B8A-4B6E-8BA0-55F32919167A}" dt="2026-01-30T18:47:19.192" v="470" actId="1076"/>
          <ac:spMkLst>
            <pc:docMk/>
            <pc:sldMk cId="2187746652" sldId="2147478873"/>
            <ac:spMk id="217" creationId="{F4FDA3EB-0687-64B1-1661-AC1A73A77ABF}"/>
          </ac:spMkLst>
        </pc:spChg>
        <pc:spChg chg="mod">
          <ac:chgData name="Jesse Noffsinger" userId="bc07d745-5b3a-4e8f-8554-c306a9634248" providerId="ADAL" clId="{FB32765A-8B8A-4B6E-8BA0-55F32919167A}" dt="2026-01-30T18:47:19.192" v="470" actId="1076"/>
          <ac:spMkLst>
            <pc:docMk/>
            <pc:sldMk cId="2187746652" sldId="2147478873"/>
            <ac:spMk id="218" creationId="{F71A33E7-DE7E-BC26-4838-6DB8AB1F2D0A}"/>
          </ac:spMkLst>
        </pc:spChg>
        <pc:spChg chg="mod">
          <ac:chgData name="Jesse Noffsinger" userId="bc07d745-5b3a-4e8f-8554-c306a9634248" providerId="ADAL" clId="{FB32765A-8B8A-4B6E-8BA0-55F32919167A}" dt="2026-01-30T18:47:19.192" v="470" actId="1076"/>
          <ac:spMkLst>
            <pc:docMk/>
            <pc:sldMk cId="2187746652" sldId="2147478873"/>
            <ac:spMk id="219" creationId="{C47D7259-642E-5B35-A073-D62F8E3731D7}"/>
          </ac:spMkLst>
        </pc:spChg>
        <pc:spChg chg="mod">
          <ac:chgData name="Jesse Noffsinger" userId="bc07d745-5b3a-4e8f-8554-c306a9634248" providerId="ADAL" clId="{FB32765A-8B8A-4B6E-8BA0-55F32919167A}" dt="2026-01-30T18:47:19.192" v="470" actId="1076"/>
          <ac:spMkLst>
            <pc:docMk/>
            <pc:sldMk cId="2187746652" sldId="2147478873"/>
            <ac:spMk id="220" creationId="{F706F7DF-31C5-4EAF-17B9-EFEDE4ED395D}"/>
          </ac:spMkLst>
        </pc:spChg>
        <pc:spChg chg="mod">
          <ac:chgData name="Jesse Noffsinger" userId="bc07d745-5b3a-4e8f-8554-c306a9634248" providerId="ADAL" clId="{FB32765A-8B8A-4B6E-8BA0-55F32919167A}" dt="2026-01-30T18:47:19.192" v="470" actId="1076"/>
          <ac:spMkLst>
            <pc:docMk/>
            <pc:sldMk cId="2187746652" sldId="2147478873"/>
            <ac:spMk id="221" creationId="{1ADFB147-0DAA-E2D4-76FC-3F8DB0A550D1}"/>
          </ac:spMkLst>
        </pc:spChg>
        <pc:spChg chg="mod">
          <ac:chgData name="Jesse Noffsinger" userId="bc07d745-5b3a-4e8f-8554-c306a9634248" providerId="ADAL" clId="{FB32765A-8B8A-4B6E-8BA0-55F32919167A}" dt="2026-01-30T18:47:19.192" v="470" actId="1076"/>
          <ac:spMkLst>
            <pc:docMk/>
            <pc:sldMk cId="2187746652" sldId="2147478873"/>
            <ac:spMk id="223" creationId="{80276089-1CC5-2096-49B4-81055BCC3280}"/>
          </ac:spMkLst>
        </pc:spChg>
        <pc:spChg chg="mod">
          <ac:chgData name="Jesse Noffsinger" userId="bc07d745-5b3a-4e8f-8554-c306a9634248" providerId="ADAL" clId="{FB32765A-8B8A-4B6E-8BA0-55F32919167A}" dt="2026-01-30T18:47:19.192" v="470" actId="1076"/>
          <ac:spMkLst>
            <pc:docMk/>
            <pc:sldMk cId="2187746652" sldId="2147478873"/>
            <ac:spMk id="224" creationId="{C555BC37-9EF3-BB10-B9F2-A43BD9691A17}"/>
          </ac:spMkLst>
        </pc:spChg>
        <pc:spChg chg="mod">
          <ac:chgData name="Jesse Noffsinger" userId="bc07d745-5b3a-4e8f-8554-c306a9634248" providerId="ADAL" clId="{FB32765A-8B8A-4B6E-8BA0-55F32919167A}" dt="2026-01-30T18:46:47.657" v="458" actId="20577"/>
          <ac:spMkLst>
            <pc:docMk/>
            <pc:sldMk cId="2187746652" sldId="2147478873"/>
            <ac:spMk id="226" creationId="{390E403E-D279-3863-2DCD-759E41BD48BC}"/>
          </ac:spMkLst>
        </pc:spChg>
        <pc:spChg chg="del">
          <ac:chgData name="Jesse Noffsinger" userId="bc07d745-5b3a-4e8f-8554-c306a9634248" providerId="ADAL" clId="{FB32765A-8B8A-4B6E-8BA0-55F32919167A}" dt="2026-01-30T18:46:50.766" v="459" actId="478"/>
          <ac:spMkLst>
            <pc:docMk/>
            <pc:sldMk cId="2187746652" sldId="2147478873"/>
            <ac:spMk id="227" creationId="{D758576B-DA15-1077-73F2-C800288EEC58}"/>
          </ac:spMkLst>
        </pc:spChg>
        <pc:spChg chg="del">
          <ac:chgData name="Jesse Noffsinger" userId="bc07d745-5b3a-4e8f-8554-c306a9634248" providerId="ADAL" clId="{FB32765A-8B8A-4B6E-8BA0-55F32919167A}" dt="2026-01-30T18:46:50.766" v="459" actId="478"/>
          <ac:spMkLst>
            <pc:docMk/>
            <pc:sldMk cId="2187746652" sldId="2147478873"/>
            <ac:spMk id="228" creationId="{49AB52E6-4228-A323-04E7-DA9F7BCB616B}"/>
          </ac:spMkLst>
        </pc:spChg>
        <pc:spChg chg="del">
          <ac:chgData name="Jesse Noffsinger" userId="bc07d745-5b3a-4e8f-8554-c306a9634248" providerId="ADAL" clId="{FB32765A-8B8A-4B6E-8BA0-55F32919167A}" dt="2026-01-30T18:46:50.766" v="459" actId="478"/>
          <ac:spMkLst>
            <pc:docMk/>
            <pc:sldMk cId="2187746652" sldId="2147478873"/>
            <ac:spMk id="229" creationId="{E695D570-CF6A-2B4D-DB7E-7EE174766FC0}"/>
          </ac:spMkLst>
        </pc:spChg>
        <pc:spChg chg="del">
          <ac:chgData name="Jesse Noffsinger" userId="bc07d745-5b3a-4e8f-8554-c306a9634248" providerId="ADAL" clId="{FB32765A-8B8A-4B6E-8BA0-55F32919167A}" dt="2026-01-30T18:46:50.766" v="459" actId="478"/>
          <ac:spMkLst>
            <pc:docMk/>
            <pc:sldMk cId="2187746652" sldId="2147478873"/>
            <ac:spMk id="230" creationId="{1B2D1AC7-71BE-1400-3AC7-255909AF5784}"/>
          </ac:spMkLst>
        </pc:spChg>
        <pc:spChg chg="del">
          <ac:chgData name="Jesse Noffsinger" userId="bc07d745-5b3a-4e8f-8554-c306a9634248" providerId="ADAL" clId="{FB32765A-8B8A-4B6E-8BA0-55F32919167A}" dt="2026-01-30T18:46:50.766" v="459" actId="478"/>
          <ac:spMkLst>
            <pc:docMk/>
            <pc:sldMk cId="2187746652" sldId="2147478873"/>
            <ac:spMk id="231" creationId="{328D9C00-D33A-C829-7BF3-460D0B920320}"/>
          </ac:spMkLst>
        </pc:spChg>
        <pc:spChg chg="del mod">
          <ac:chgData name="Jesse Noffsinger" userId="bc07d745-5b3a-4e8f-8554-c306a9634248" providerId="ADAL" clId="{FB32765A-8B8A-4B6E-8BA0-55F32919167A}" dt="2026-01-30T18:46:50.766" v="459" actId="478"/>
          <ac:spMkLst>
            <pc:docMk/>
            <pc:sldMk cId="2187746652" sldId="2147478873"/>
            <ac:spMk id="232" creationId="{BB09253E-1A25-9E9B-BAC0-C549C1A5F6E3}"/>
          </ac:spMkLst>
        </pc:spChg>
        <pc:spChg chg="del">
          <ac:chgData name="Jesse Noffsinger" userId="bc07d745-5b3a-4e8f-8554-c306a9634248" providerId="ADAL" clId="{FB32765A-8B8A-4B6E-8BA0-55F32919167A}" dt="2026-01-30T18:46:50.766" v="459" actId="478"/>
          <ac:spMkLst>
            <pc:docMk/>
            <pc:sldMk cId="2187746652" sldId="2147478873"/>
            <ac:spMk id="234" creationId="{28499802-AD07-30FB-088F-26ED989EB948}"/>
          </ac:spMkLst>
        </pc:spChg>
        <pc:spChg chg="del">
          <ac:chgData name="Jesse Noffsinger" userId="bc07d745-5b3a-4e8f-8554-c306a9634248" providerId="ADAL" clId="{FB32765A-8B8A-4B6E-8BA0-55F32919167A}" dt="2026-01-30T18:46:50.766" v="459" actId="478"/>
          <ac:spMkLst>
            <pc:docMk/>
            <pc:sldMk cId="2187746652" sldId="2147478873"/>
            <ac:spMk id="235" creationId="{D7F4238B-EBDD-5670-0A0C-4B1613DAAA73}"/>
          </ac:spMkLst>
        </pc:spChg>
        <pc:spChg chg="del">
          <ac:chgData name="Jesse Noffsinger" userId="bc07d745-5b3a-4e8f-8554-c306a9634248" providerId="ADAL" clId="{FB32765A-8B8A-4B6E-8BA0-55F32919167A}" dt="2026-01-30T18:46:50.766" v="459" actId="478"/>
          <ac:spMkLst>
            <pc:docMk/>
            <pc:sldMk cId="2187746652" sldId="2147478873"/>
            <ac:spMk id="236" creationId="{661CEFC5-C03A-525F-9DA6-C8BF15F9533F}"/>
          </ac:spMkLst>
        </pc:spChg>
        <pc:spChg chg="del">
          <ac:chgData name="Jesse Noffsinger" userId="bc07d745-5b3a-4e8f-8554-c306a9634248" providerId="ADAL" clId="{FB32765A-8B8A-4B6E-8BA0-55F32919167A}" dt="2026-01-30T18:46:50.766" v="459" actId="478"/>
          <ac:spMkLst>
            <pc:docMk/>
            <pc:sldMk cId="2187746652" sldId="2147478873"/>
            <ac:spMk id="238" creationId="{F4D52F33-BAA6-73CF-06DB-B8C2A4737B9F}"/>
          </ac:spMkLst>
        </pc:spChg>
        <pc:spChg chg="mod">
          <ac:chgData name="Jesse Noffsinger" userId="bc07d745-5b3a-4e8f-8554-c306a9634248" providerId="ADAL" clId="{FB32765A-8B8A-4B6E-8BA0-55F32919167A}" dt="2026-01-30T18:46:42.832" v="455" actId="1076"/>
          <ac:spMkLst>
            <pc:docMk/>
            <pc:sldMk cId="2187746652" sldId="2147478873"/>
            <ac:spMk id="240" creationId="{5D81A351-3D87-CF52-0AF2-954CB754CF5D}"/>
          </ac:spMkLst>
        </pc:spChg>
        <pc:spChg chg="del">
          <ac:chgData name="Jesse Noffsinger" userId="bc07d745-5b3a-4e8f-8554-c306a9634248" providerId="ADAL" clId="{FB32765A-8B8A-4B6E-8BA0-55F32919167A}" dt="2026-01-30T18:40:06.220" v="320" actId="478"/>
          <ac:spMkLst>
            <pc:docMk/>
            <pc:sldMk cId="2187746652" sldId="2147478873"/>
            <ac:spMk id="241" creationId="{7D9886D8-DF3D-1701-9602-D6607D9C9A3B}"/>
          </ac:spMkLst>
        </pc:spChg>
        <pc:spChg chg="del">
          <ac:chgData name="Jesse Noffsinger" userId="bc07d745-5b3a-4e8f-8554-c306a9634248" providerId="ADAL" clId="{FB32765A-8B8A-4B6E-8BA0-55F32919167A}" dt="2026-01-30T18:40:06.220" v="320" actId="478"/>
          <ac:spMkLst>
            <pc:docMk/>
            <pc:sldMk cId="2187746652" sldId="2147478873"/>
            <ac:spMk id="243" creationId="{7C57181F-EAAD-C495-6568-BE2911A890E0}"/>
          </ac:spMkLst>
        </pc:spChg>
        <pc:spChg chg="del">
          <ac:chgData name="Jesse Noffsinger" userId="bc07d745-5b3a-4e8f-8554-c306a9634248" providerId="ADAL" clId="{FB32765A-8B8A-4B6E-8BA0-55F32919167A}" dt="2026-01-30T18:40:06.220" v="320" actId="478"/>
          <ac:spMkLst>
            <pc:docMk/>
            <pc:sldMk cId="2187746652" sldId="2147478873"/>
            <ac:spMk id="244" creationId="{D157F496-A13D-444F-13B6-FD747916DA28}"/>
          </ac:spMkLst>
        </pc:spChg>
        <pc:spChg chg="del">
          <ac:chgData name="Jesse Noffsinger" userId="bc07d745-5b3a-4e8f-8554-c306a9634248" providerId="ADAL" clId="{FB32765A-8B8A-4B6E-8BA0-55F32919167A}" dt="2026-01-30T18:40:06.220" v="320" actId="478"/>
          <ac:spMkLst>
            <pc:docMk/>
            <pc:sldMk cId="2187746652" sldId="2147478873"/>
            <ac:spMk id="246" creationId="{17004BE7-8341-D0AA-66A2-1A7D265F3CFC}"/>
          </ac:spMkLst>
        </pc:spChg>
        <pc:spChg chg="del">
          <ac:chgData name="Jesse Noffsinger" userId="bc07d745-5b3a-4e8f-8554-c306a9634248" providerId="ADAL" clId="{FB32765A-8B8A-4B6E-8BA0-55F32919167A}" dt="2026-01-30T18:40:06.220" v="320" actId="478"/>
          <ac:spMkLst>
            <pc:docMk/>
            <pc:sldMk cId="2187746652" sldId="2147478873"/>
            <ac:spMk id="248" creationId="{12CAC7D6-7DF1-A80D-0BFC-C87D4E317477}"/>
          </ac:spMkLst>
        </pc:spChg>
        <pc:spChg chg="del">
          <ac:chgData name="Jesse Noffsinger" userId="bc07d745-5b3a-4e8f-8554-c306a9634248" providerId="ADAL" clId="{FB32765A-8B8A-4B6E-8BA0-55F32919167A}" dt="2026-01-30T18:40:06.220" v="320" actId="478"/>
          <ac:spMkLst>
            <pc:docMk/>
            <pc:sldMk cId="2187746652" sldId="2147478873"/>
            <ac:spMk id="251" creationId="{0F47251B-1E42-424F-0BF8-8ACD81F684B8}"/>
          </ac:spMkLst>
        </pc:spChg>
        <pc:spChg chg="del">
          <ac:chgData name="Jesse Noffsinger" userId="bc07d745-5b3a-4e8f-8554-c306a9634248" providerId="ADAL" clId="{FB32765A-8B8A-4B6E-8BA0-55F32919167A}" dt="2026-01-30T18:40:06.220" v="320" actId="478"/>
          <ac:spMkLst>
            <pc:docMk/>
            <pc:sldMk cId="2187746652" sldId="2147478873"/>
            <ac:spMk id="252" creationId="{76FEB7DE-A4A7-CA96-63FF-04C6886944BD}"/>
          </ac:spMkLst>
        </pc:spChg>
        <pc:spChg chg="del">
          <ac:chgData name="Jesse Noffsinger" userId="bc07d745-5b3a-4e8f-8554-c306a9634248" providerId="ADAL" clId="{FB32765A-8B8A-4B6E-8BA0-55F32919167A}" dt="2026-01-30T18:40:06.220" v="320" actId="478"/>
          <ac:spMkLst>
            <pc:docMk/>
            <pc:sldMk cId="2187746652" sldId="2147478873"/>
            <ac:spMk id="253" creationId="{92F10176-A126-7D28-2446-87B04790B104}"/>
          </ac:spMkLst>
        </pc:spChg>
        <pc:spChg chg="del">
          <ac:chgData name="Jesse Noffsinger" userId="bc07d745-5b3a-4e8f-8554-c306a9634248" providerId="ADAL" clId="{FB32765A-8B8A-4B6E-8BA0-55F32919167A}" dt="2026-01-30T18:40:06.220" v="320" actId="478"/>
          <ac:spMkLst>
            <pc:docMk/>
            <pc:sldMk cId="2187746652" sldId="2147478873"/>
            <ac:spMk id="254" creationId="{47533AEB-84C1-D570-D89D-C3DA5F07B6A7}"/>
          </ac:spMkLst>
        </pc:spChg>
        <pc:spChg chg="del">
          <ac:chgData name="Jesse Noffsinger" userId="bc07d745-5b3a-4e8f-8554-c306a9634248" providerId="ADAL" clId="{FB32765A-8B8A-4B6E-8BA0-55F32919167A}" dt="2026-01-30T18:40:06.220" v="320" actId="478"/>
          <ac:spMkLst>
            <pc:docMk/>
            <pc:sldMk cId="2187746652" sldId="2147478873"/>
            <ac:spMk id="255" creationId="{CD7C1452-B086-CF42-0738-B915F487DA81}"/>
          </ac:spMkLst>
        </pc:spChg>
        <pc:spChg chg="mod">
          <ac:chgData name="Jesse Noffsinger" userId="bc07d745-5b3a-4e8f-8554-c306a9634248" providerId="ADAL" clId="{FB32765A-8B8A-4B6E-8BA0-55F32919167A}" dt="2026-01-30T18:49:00.795" v="619" actId="948"/>
          <ac:spMkLst>
            <pc:docMk/>
            <pc:sldMk cId="2187746652" sldId="2147478873"/>
            <ac:spMk id="273" creationId="{9DC47D50-6A06-28B5-46CB-A7311CB46962}"/>
          </ac:spMkLst>
        </pc:spChg>
        <pc:grpChg chg="add mod">
          <ac:chgData name="Jesse Noffsinger" userId="bc07d745-5b3a-4e8f-8554-c306a9634248" providerId="ADAL" clId="{FB32765A-8B8A-4B6E-8BA0-55F32919167A}" dt="2026-01-30T18:49:29.519" v="645" actId="14100"/>
          <ac:grpSpMkLst>
            <pc:docMk/>
            <pc:sldMk cId="2187746652" sldId="2147478873"/>
            <ac:grpSpMk id="131" creationId="{579EC683-B273-41BE-4EA7-8AFD05A64BA5}"/>
          </ac:grpSpMkLst>
        </pc:grpChg>
        <pc:grpChg chg="add mod">
          <ac:chgData name="Jesse Noffsinger" userId="bc07d745-5b3a-4e8f-8554-c306a9634248" providerId="ADAL" clId="{FB32765A-8B8A-4B6E-8BA0-55F32919167A}" dt="2026-01-30T18:49:34.263" v="648" actId="1037"/>
          <ac:grpSpMkLst>
            <pc:docMk/>
            <pc:sldMk cId="2187746652" sldId="2147478873"/>
            <ac:grpSpMk id="132" creationId="{4DC884B8-1BF3-3A00-0781-F46C5864083C}"/>
          </ac:grpSpMkLst>
        </pc:grpChg>
        <pc:graphicFrameChg chg="mod">
          <ac:chgData name="Jesse Noffsinger" userId="bc07d745-5b3a-4e8f-8554-c306a9634248" providerId="ADAL" clId="{FB32765A-8B8A-4B6E-8BA0-55F32919167A}" dt="2026-01-30T18:49:00.836" v="643"/>
          <ac:graphicFrameMkLst>
            <pc:docMk/>
            <pc:sldMk cId="2187746652" sldId="2147478873"/>
            <ac:graphicFrameMk id="212" creationId="{EF462318-A2CA-1947-C01C-3B44F1876C59}"/>
          </ac:graphicFrameMkLst>
        </pc:graphicFrameChg>
        <pc:cxnChg chg="mod">
          <ac:chgData name="Jesse Noffsinger" userId="bc07d745-5b3a-4e8f-8554-c306a9634248" providerId="ADAL" clId="{FB32765A-8B8A-4B6E-8BA0-55F32919167A}" dt="2026-01-30T18:49:32.817" v="646" actId="571"/>
          <ac:cxnSpMkLst>
            <pc:docMk/>
            <pc:sldMk cId="2187746652" sldId="2147478873"/>
            <ac:cxnSpMk id="134" creationId="{ED1259BB-2081-226E-51B9-D402397562E1}"/>
          </ac:cxnSpMkLst>
        </pc:cxnChg>
        <pc:cxnChg chg="mod">
          <ac:chgData name="Jesse Noffsinger" userId="bc07d745-5b3a-4e8f-8554-c306a9634248" providerId="ADAL" clId="{FB32765A-8B8A-4B6E-8BA0-55F32919167A}" dt="2026-01-30T18:49:32.817" v="646" actId="571"/>
          <ac:cxnSpMkLst>
            <pc:docMk/>
            <pc:sldMk cId="2187746652" sldId="2147478873"/>
            <ac:cxnSpMk id="136" creationId="{3D951CF7-5A97-EDBE-4260-E2FE9E4A6C77}"/>
          </ac:cxnSpMkLst>
        </pc:cxnChg>
        <pc:cxnChg chg="mod">
          <ac:chgData name="Jesse Noffsinger" userId="bc07d745-5b3a-4e8f-8554-c306a9634248" providerId="ADAL" clId="{FB32765A-8B8A-4B6E-8BA0-55F32919167A}" dt="2026-01-30T18:49:32.817" v="646" actId="571"/>
          <ac:cxnSpMkLst>
            <pc:docMk/>
            <pc:sldMk cId="2187746652" sldId="2147478873"/>
            <ac:cxnSpMk id="137" creationId="{C5EDB130-945F-4482-18BA-FCC71733F6D5}"/>
          </ac:cxnSpMkLst>
        </pc:cxnChg>
        <pc:cxnChg chg="mod">
          <ac:chgData name="Jesse Noffsinger" userId="bc07d745-5b3a-4e8f-8554-c306a9634248" providerId="ADAL" clId="{FB32765A-8B8A-4B6E-8BA0-55F32919167A}" dt="2026-01-30T18:49:32.817" v="646" actId="571"/>
          <ac:cxnSpMkLst>
            <pc:docMk/>
            <pc:sldMk cId="2187746652" sldId="2147478873"/>
            <ac:cxnSpMk id="138" creationId="{A153E0D8-177D-87B6-36FC-708F85BA5554}"/>
          </ac:cxnSpMkLst>
        </pc:cxnChg>
        <pc:cxnChg chg="mod">
          <ac:chgData name="Jesse Noffsinger" userId="bc07d745-5b3a-4e8f-8554-c306a9634248" providerId="ADAL" clId="{FB32765A-8B8A-4B6E-8BA0-55F32919167A}" dt="2026-01-30T18:49:32.817" v="646" actId="571"/>
          <ac:cxnSpMkLst>
            <pc:docMk/>
            <pc:sldMk cId="2187746652" sldId="2147478873"/>
            <ac:cxnSpMk id="139" creationId="{1D297EC2-78BD-CC8E-C263-91D04397B7AA}"/>
          </ac:cxnSpMkLst>
        </pc:cxnChg>
        <pc:cxnChg chg="mod">
          <ac:chgData name="Jesse Noffsinger" userId="bc07d745-5b3a-4e8f-8554-c306a9634248" providerId="ADAL" clId="{FB32765A-8B8A-4B6E-8BA0-55F32919167A}" dt="2026-01-30T18:49:32.817" v="646" actId="571"/>
          <ac:cxnSpMkLst>
            <pc:docMk/>
            <pc:sldMk cId="2187746652" sldId="2147478873"/>
            <ac:cxnSpMk id="140" creationId="{53642C58-79FB-EC2F-7B90-1C2F84F5D5C0}"/>
          </ac:cxnSpMkLst>
        </pc:cxnChg>
        <pc:cxnChg chg="mod">
          <ac:chgData name="Jesse Noffsinger" userId="bc07d745-5b3a-4e8f-8554-c306a9634248" providerId="ADAL" clId="{FB32765A-8B8A-4B6E-8BA0-55F32919167A}" dt="2026-01-30T18:49:32.817" v="646" actId="571"/>
          <ac:cxnSpMkLst>
            <pc:docMk/>
            <pc:sldMk cId="2187746652" sldId="2147478873"/>
            <ac:cxnSpMk id="141" creationId="{93DC42B0-6822-C6C4-10CC-5B187F618AE3}"/>
          </ac:cxnSpMkLst>
        </pc:cxnChg>
        <pc:cxnChg chg="mod">
          <ac:chgData name="Jesse Noffsinger" userId="bc07d745-5b3a-4e8f-8554-c306a9634248" providerId="ADAL" clId="{FB32765A-8B8A-4B6E-8BA0-55F32919167A}" dt="2026-01-30T18:49:32.817" v="646" actId="571"/>
          <ac:cxnSpMkLst>
            <pc:docMk/>
            <pc:sldMk cId="2187746652" sldId="2147478873"/>
            <ac:cxnSpMk id="143" creationId="{FA8EA168-6414-0E2B-E59F-3F5641E74774}"/>
          </ac:cxnSpMkLst>
        </pc:cxnChg>
        <pc:cxnChg chg="mod">
          <ac:chgData name="Jesse Noffsinger" userId="bc07d745-5b3a-4e8f-8554-c306a9634248" providerId="ADAL" clId="{FB32765A-8B8A-4B6E-8BA0-55F32919167A}" dt="2026-01-30T18:49:32.817" v="646" actId="571"/>
          <ac:cxnSpMkLst>
            <pc:docMk/>
            <pc:sldMk cId="2187746652" sldId="2147478873"/>
            <ac:cxnSpMk id="144" creationId="{F15AE2BC-DB74-FA8C-54B4-6287B4930875}"/>
          </ac:cxnSpMkLst>
        </pc:cxnChg>
        <pc:cxnChg chg="mod">
          <ac:chgData name="Jesse Noffsinger" userId="bc07d745-5b3a-4e8f-8554-c306a9634248" providerId="ADAL" clId="{FB32765A-8B8A-4B6E-8BA0-55F32919167A}" dt="2026-01-30T18:49:24.738" v="644" actId="164"/>
          <ac:cxnSpMkLst>
            <pc:docMk/>
            <pc:sldMk cId="2187746652" sldId="2147478873"/>
            <ac:cxnSpMk id="257" creationId="{A3DE0E87-748E-2658-1F14-FF55EF876AD0}"/>
          </ac:cxnSpMkLst>
        </pc:cxnChg>
        <pc:cxnChg chg="mod">
          <ac:chgData name="Jesse Noffsinger" userId="bc07d745-5b3a-4e8f-8554-c306a9634248" providerId="ADAL" clId="{FB32765A-8B8A-4B6E-8BA0-55F32919167A}" dt="2026-01-30T18:49:24.738" v="644" actId="164"/>
          <ac:cxnSpMkLst>
            <pc:docMk/>
            <pc:sldMk cId="2187746652" sldId="2147478873"/>
            <ac:cxnSpMk id="258" creationId="{43C3EC51-B43F-6303-C1C2-3768D3BC7960}"/>
          </ac:cxnSpMkLst>
        </pc:cxnChg>
        <pc:cxnChg chg="mod">
          <ac:chgData name="Jesse Noffsinger" userId="bc07d745-5b3a-4e8f-8554-c306a9634248" providerId="ADAL" clId="{FB32765A-8B8A-4B6E-8BA0-55F32919167A}" dt="2026-01-30T18:49:24.738" v="644" actId="164"/>
          <ac:cxnSpMkLst>
            <pc:docMk/>
            <pc:sldMk cId="2187746652" sldId="2147478873"/>
            <ac:cxnSpMk id="259" creationId="{39E91973-5F54-C1D4-B664-0B852F457EFB}"/>
          </ac:cxnSpMkLst>
        </pc:cxnChg>
        <pc:cxnChg chg="mod">
          <ac:chgData name="Jesse Noffsinger" userId="bc07d745-5b3a-4e8f-8554-c306a9634248" providerId="ADAL" clId="{FB32765A-8B8A-4B6E-8BA0-55F32919167A}" dt="2026-01-30T18:49:24.738" v="644" actId="164"/>
          <ac:cxnSpMkLst>
            <pc:docMk/>
            <pc:sldMk cId="2187746652" sldId="2147478873"/>
            <ac:cxnSpMk id="260" creationId="{F88907B8-35ED-B1DC-688E-5CD7D8D847EE}"/>
          </ac:cxnSpMkLst>
        </pc:cxnChg>
        <pc:cxnChg chg="mod">
          <ac:chgData name="Jesse Noffsinger" userId="bc07d745-5b3a-4e8f-8554-c306a9634248" providerId="ADAL" clId="{FB32765A-8B8A-4B6E-8BA0-55F32919167A}" dt="2026-01-30T18:49:24.738" v="644" actId="164"/>
          <ac:cxnSpMkLst>
            <pc:docMk/>
            <pc:sldMk cId="2187746652" sldId="2147478873"/>
            <ac:cxnSpMk id="262" creationId="{3A853D69-ADA8-7CCB-7479-9F765DE0018D}"/>
          </ac:cxnSpMkLst>
        </pc:cxnChg>
        <pc:cxnChg chg="mod">
          <ac:chgData name="Jesse Noffsinger" userId="bc07d745-5b3a-4e8f-8554-c306a9634248" providerId="ADAL" clId="{FB32765A-8B8A-4B6E-8BA0-55F32919167A}" dt="2026-01-30T18:49:24.738" v="644" actId="164"/>
          <ac:cxnSpMkLst>
            <pc:docMk/>
            <pc:sldMk cId="2187746652" sldId="2147478873"/>
            <ac:cxnSpMk id="263" creationId="{21AD6BA7-1C43-4F7A-F77B-8BC613C0B6E4}"/>
          </ac:cxnSpMkLst>
        </pc:cxnChg>
        <pc:cxnChg chg="mod">
          <ac:chgData name="Jesse Noffsinger" userId="bc07d745-5b3a-4e8f-8554-c306a9634248" providerId="ADAL" clId="{FB32765A-8B8A-4B6E-8BA0-55F32919167A}" dt="2026-01-30T18:49:24.738" v="644" actId="164"/>
          <ac:cxnSpMkLst>
            <pc:docMk/>
            <pc:sldMk cId="2187746652" sldId="2147478873"/>
            <ac:cxnSpMk id="265" creationId="{38A5B6FB-1F8C-AFC0-496C-CFB2B243ED40}"/>
          </ac:cxnSpMkLst>
        </pc:cxnChg>
        <pc:cxnChg chg="mod">
          <ac:chgData name="Jesse Noffsinger" userId="bc07d745-5b3a-4e8f-8554-c306a9634248" providerId="ADAL" clId="{FB32765A-8B8A-4B6E-8BA0-55F32919167A}" dt="2026-01-30T18:49:24.738" v="644" actId="164"/>
          <ac:cxnSpMkLst>
            <pc:docMk/>
            <pc:sldMk cId="2187746652" sldId="2147478873"/>
            <ac:cxnSpMk id="266" creationId="{CD49DC2A-348B-9614-C589-E8039F2D94B0}"/>
          </ac:cxnSpMkLst>
        </pc:cxnChg>
        <pc:cxnChg chg="mod">
          <ac:chgData name="Jesse Noffsinger" userId="bc07d745-5b3a-4e8f-8554-c306a9634248" providerId="ADAL" clId="{FB32765A-8B8A-4B6E-8BA0-55F32919167A}" dt="2026-01-30T18:49:24.738" v="644" actId="164"/>
          <ac:cxnSpMkLst>
            <pc:docMk/>
            <pc:sldMk cId="2187746652" sldId="2147478873"/>
            <ac:cxnSpMk id="269" creationId="{678853B0-3E08-E507-CCF0-72ED8A257FE7}"/>
          </ac:cxnSpMkLst>
        </pc:cxnChg>
      </pc:sldChg>
      <pc:sldChg chg="delSp del mod">
        <pc:chgData name="Jesse Noffsinger" userId="bc07d745-5b3a-4e8f-8554-c306a9634248" providerId="ADAL" clId="{FB32765A-8B8A-4B6E-8BA0-55F32919167A}" dt="2026-01-30T18:48:49.265" v="502" actId="47"/>
        <pc:sldMkLst>
          <pc:docMk/>
          <pc:sldMk cId="2653925428" sldId="2147478874"/>
        </pc:sldMkLst>
        <pc:spChg chg="del">
          <ac:chgData name="Jesse Noffsinger" userId="bc07d745-5b3a-4e8f-8554-c306a9634248" providerId="ADAL" clId="{FB32765A-8B8A-4B6E-8BA0-55F32919167A}" dt="2026-01-30T18:40:10.891" v="321" actId="478"/>
          <ac:spMkLst>
            <pc:docMk/>
            <pc:sldMk cId="2653925428" sldId="2147478874"/>
            <ac:spMk id="193" creationId="{CCFC8286-0688-B0AD-03BC-EE0941A64F9E}"/>
          </ac:spMkLst>
        </pc:spChg>
        <pc:spChg chg="del">
          <ac:chgData name="Jesse Noffsinger" userId="bc07d745-5b3a-4e8f-8554-c306a9634248" providerId="ADAL" clId="{FB32765A-8B8A-4B6E-8BA0-55F32919167A}" dt="2026-01-30T18:40:10.891" v="321" actId="478"/>
          <ac:spMkLst>
            <pc:docMk/>
            <pc:sldMk cId="2653925428" sldId="2147478874"/>
            <ac:spMk id="242" creationId="{629E4EAC-3FA7-BC6B-90C8-F08171FFFC05}"/>
          </ac:spMkLst>
        </pc:spChg>
        <pc:spChg chg="del">
          <ac:chgData name="Jesse Noffsinger" userId="bc07d745-5b3a-4e8f-8554-c306a9634248" providerId="ADAL" clId="{FB32765A-8B8A-4B6E-8BA0-55F32919167A}" dt="2026-01-30T18:40:10.891" v="321" actId="478"/>
          <ac:spMkLst>
            <pc:docMk/>
            <pc:sldMk cId="2653925428" sldId="2147478874"/>
            <ac:spMk id="243" creationId="{F43E9F2E-CE45-CD77-B48C-CD6EE75DD7C1}"/>
          </ac:spMkLst>
        </pc:spChg>
        <pc:spChg chg="del">
          <ac:chgData name="Jesse Noffsinger" userId="bc07d745-5b3a-4e8f-8554-c306a9634248" providerId="ADAL" clId="{FB32765A-8B8A-4B6E-8BA0-55F32919167A}" dt="2026-01-30T18:40:10.891" v="321" actId="478"/>
          <ac:spMkLst>
            <pc:docMk/>
            <pc:sldMk cId="2653925428" sldId="2147478874"/>
            <ac:spMk id="244" creationId="{6F5E9F26-B3ED-D2FF-47EA-80F8732E8F5B}"/>
          </ac:spMkLst>
        </pc:spChg>
        <pc:spChg chg="del">
          <ac:chgData name="Jesse Noffsinger" userId="bc07d745-5b3a-4e8f-8554-c306a9634248" providerId="ADAL" clId="{FB32765A-8B8A-4B6E-8BA0-55F32919167A}" dt="2026-01-30T18:40:10.891" v="321" actId="478"/>
          <ac:spMkLst>
            <pc:docMk/>
            <pc:sldMk cId="2653925428" sldId="2147478874"/>
            <ac:spMk id="245" creationId="{6AF90463-E472-E201-4EF5-2AE66204207B}"/>
          </ac:spMkLst>
        </pc:spChg>
        <pc:spChg chg="del">
          <ac:chgData name="Jesse Noffsinger" userId="bc07d745-5b3a-4e8f-8554-c306a9634248" providerId="ADAL" clId="{FB32765A-8B8A-4B6E-8BA0-55F32919167A}" dt="2026-01-30T18:40:10.891" v="321" actId="478"/>
          <ac:spMkLst>
            <pc:docMk/>
            <pc:sldMk cId="2653925428" sldId="2147478874"/>
            <ac:spMk id="246" creationId="{4D928742-D713-0AF7-A533-97BAB527FF3E}"/>
          </ac:spMkLst>
        </pc:spChg>
        <pc:spChg chg="del">
          <ac:chgData name="Jesse Noffsinger" userId="bc07d745-5b3a-4e8f-8554-c306a9634248" providerId="ADAL" clId="{FB32765A-8B8A-4B6E-8BA0-55F32919167A}" dt="2026-01-30T18:40:10.891" v="321" actId="478"/>
          <ac:spMkLst>
            <pc:docMk/>
            <pc:sldMk cId="2653925428" sldId="2147478874"/>
            <ac:spMk id="248" creationId="{404AF2B2-71A0-4E44-AEAA-AE47C3B5BBB1}"/>
          </ac:spMkLst>
        </pc:spChg>
        <pc:spChg chg="del">
          <ac:chgData name="Jesse Noffsinger" userId="bc07d745-5b3a-4e8f-8554-c306a9634248" providerId="ADAL" clId="{FB32765A-8B8A-4B6E-8BA0-55F32919167A}" dt="2026-01-30T18:40:10.891" v="321" actId="478"/>
          <ac:spMkLst>
            <pc:docMk/>
            <pc:sldMk cId="2653925428" sldId="2147478874"/>
            <ac:spMk id="251" creationId="{E0F4ECDF-34CD-C7CC-674F-2A04DA07BBB8}"/>
          </ac:spMkLst>
        </pc:spChg>
        <pc:spChg chg="del">
          <ac:chgData name="Jesse Noffsinger" userId="bc07d745-5b3a-4e8f-8554-c306a9634248" providerId="ADAL" clId="{FB32765A-8B8A-4B6E-8BA0-55F32919167A}" dt="2026-01-30T18:40:10.891" v="321" actId="478"/>
          <ac:spMkLst>
            <pc:docMk/>
            <pc:sldMk cId="2653925428" sldId="2147478874"/>
            <ac:spMk id="252" creationId="{4FCB9F5D-5506-5C0A-9D7A-9EF9C55A548B}"/>
          </ac:spMkLst>
        </pc:spChg>
        <pc:spChg chg="del">
          <ac:chgData name="Jesse Noffsinger" userId="bc07d745-5b3a-4e8f-8554-c306a9634248" providerId="ADAL" clId="{FB32765A-8B8A-4B6E-8BA0-55F32919167A}" dt="2026-01-30T18:40:10.891" v="321" actId="478"/>
          <ac:spMkLst>
            <pc:docMk/>
            <pc:sldMk cId="2653925428" sldId="2147478874"/>
            <ac:spMk id="254" creationId="{4A4AA631-DC7B-3ACA-3237-FE776AB8D3A8}"/>
          </ac:spMkLst>
        </pc:spChg>
      </pc:sldChg>
      <pc:sldChg chg="addSp delSp modSp mod ord">
        <pc:chgData name="Jesse Noffsinger" userId="bc07d745-5b3a-4e8f-8554-c306a9634248" providerId="ADAL" clId="{FB32765A-8B8A-4B6E-8BA0-55F32919167A}" dt="2026-01-30T19:13:30.276" v="709"/>
        <pc:sldMkLst>
          <pc:docMk/>
          <pc:sldMk cId="1536178990" sldId="2147478876"/>
        </pc:sldMkLst>
        <pc:spChg chg="add mod">
          <ac:chgData name="Jesse Noffsinger" userId="bc07d745-5b3a-4e8f-8554-c306a9634248" providerId="ADAL" clId="{FB32765A-8B8A-4B6E-8BA0-55F32919167A}" dt="2026-01-30T18:50:44.615" v="684" actId="1038"/>
          <ac:spMkLst>
            <pc:docMk/>
            <pc:sldMk cId="1536178990" sldId="2147478876"/>
            <ac:spMk id="2" creationId="{7E0948D5-D21A-F0FF-18F4-2C1E026F9826}"/>
          </ac:spMkLst>
        </pc:spChg>
        <pc:spChg chg="mod">
          <ac:chgData name="Jesse Noffsinger" userId="bc07d745-5b3a-4e8f-8554-c306a9634248" providerId="ADAL" clId="{FB32765A-8B8A-4B6E-8BA0-55F32919167A}" dt="2026-01-30T18:46:30.592" v="453" actId="20577"/>
          <ac:spMkLst>
            <pc:docMk/>
            <pc:sldMk cId="1536178990" sldId="2147478876"/>
            <ac:spMk id="3" creationId="{415F2184-4233-18DB-E654-7835B61DFD88}"/>
          </ac:spMkLst>
        </pc:spChg>
        <pc:spChg chg="add mod">
          <ac:chgData name="Jesse Noffsinger" userId="bc07d745-5b3a-4e8f-8554-c306a9634248" providerId="ADAL" clId="{FB32765A-8B8A-4B6E-8BA0-55F32919167A}" dt="2026-01-30T18:41:40.737" v="326" actId="571"/>
          <ac:spMkLst>
            <pc:docMk/>
            <pc:sldMk cId="1536178990" sldId="2147478876"/>
            <ac:spMk id="4" creationId="{A8FAF3E2-8F70-56CE-0E78-6E378B7F4431}"/>
          </ac:spMkLst>
        </pc:spChg>
        <pc:spChg chg="add mod">
          <ac:chgData name="Jesse Noffsinger" userId="bc07d745-5b3a-4e8f-8554-c306a9634248" providerId="ADAL" clId="{FB32765A-8B8A-4B6E-8BA0-55F32919167A}" dt="2026-01-30T18:50:44.615" v="684" actId="1038"/>
          <ac:spMkLst>
            <pc:docMk/>
            <pc:sldMk cId="1536178990" sldId="2147478876"/>
            <ac:spMk id="5" creationId="{B5BEA7FB-2D69-D3EB-F7D7-078210C4725D}"/>
          </ac:spMkLst>
        </pc:spChg>
        <pc:spChg chg="add mod">
          <ac:chgData name="Jesse Noffsinger" userId="bc07d745-5b3a-4e8f-8554-c306a9634248" providerId="ADAL" clId="{FB32765A-8B8A-4B6E-8BA0-55F32919167A}" dt="2026-01-30T18:50:44.615" v="684" actId="1038"/>
          <ac:spMkLst>
            <pc:docMk/>
            <pc:sldMk cId="1536178990" sldId="2147478876"/>
            <ac:spMk id="6" creationId="{3D2AC8AA-7AB4-0ECE-5B82-BD5A1DEE79D0}"/>
          </ac:spMkLst>
        </pc:spChg>
        <pc:spChg chg="add mod">
          <ac:chgData name="Jesse Noffsinger" userId="bc07d745-5b3a-4e8f-8554-c306a9634248" providerId="ADAL" clId="{FB32765A-8B8A-4B6E-8BA0-55F32919167A}" dt="2026-01-30T18:50:44.615" v="684" actId="1038"/>
          <ac:spMkLst>
            <pc:docMk/>
            <pc:sldMk cId="1536178990" sldId="2147478876"/>
            <ac:spMk id="7" creationId="{5678D7F3-B299-B7E2-F96D-B652CC828968}"/>
          </ac:spMkLst>
        </pc:spChg>
        <pc:spChg chg="add mod">
          <ac:chgData name="Jesse Noffsinger" userId="bc07d745-5b3a-4e8f-8554-c306a9634248" providerId="ADAL" clId="{FB32765A-8B8A-4B6E-8BA0-55F32919167A}" dt="2026-01-30T18:50:44.615" v="684" actId="1038"/>
          <ac:spMkLst>
            <pc:docMk/>
            <pc:sldMk cId="1536178990" sldId="2147478876"/>
            <ac:spMk id="8" creationId="{BA334FF0-C004-E2FB-593D-A12ED5BBC1D2}"/>
          </ac:spMkLst>
        </pc:spChg>
        <pc:spChg chg="add mod">
          <ac:chgData name="Jesse Noffsinger" userId="bc07d745-5b3a-4e8f-8554-c306a9634248" providerId="ADAL" clId="{FB32765A-8B8A-4B6E-8BA0-55F32919167A}" dt="2026-01-30T18:41:46.173" v="328" actId="571"/>
          <ac:spMkLst>
            <pc:docMk/>
            <pc:sldMk cId="1536178990" sldId="2147478876"/>
            <ac:spMk id="9" creationId="{4792B617-1AE9-665A-57FF-310DE43694CE}"/>
          </ac:spMkLst>
        </pc:spChg>
        <pc:spChg chg="add mod">
          <ac:chgData name="Jesse Noffsinger" userId="bc07d745-5b3a-4e8f-8554-c306a9634248" providerId="ADAL" clId="{FB32765A-8B8A-4B6E-8BA0-55F32919167A}" dt="2026-01-30T18:50:44.615" v="684" actId="1038"/>
          <ac:spMkLst>
            <pc:docMk/>
            <pc:sldMk cId="1536178990" sldId="2147478876"/>
            <ac:spMk id="10" creationId="{3F97CFA1-F472-2FB6-8AC7-49DE37655DB3}"/>
          </ac:spMkLst>
        </pc:spChg>
        <pc:spChg chg="add mod">
          <ac:chgData name="Jesse Noffsinger" userId="bc07d745-5b3a-4e8f-8554-c306a9634248" providerId="ADAL" clId="{FB32765A-8B8A-4B6E-8BA0-55F32919167A}" dt="2026-01-30T18:45:05.661" v="397" actId="1037"/>
          <ac:spMkLst>
            <pc:docMk/>
            <pc:sldMk cId="1536178990" sldId="2147478876"/>
            <ac:spMk id="11" creationId="{7E91DB69-1591-53FD-9465-29DA2D7C4180}"/>
          </ac:spMkLst>
        </pc:spChg>
        <pc:spChg chg="add mod">
          <ac:chgData name="Jesse Noffsinger" userId="bc07d745-5b3a-4e8f-8554-c306a9634248" providerId="ADAL" clId="{FB32765A-8B8A-4B6E-8BA0-55F32919167A}" dt="2026-01-30T18:50:44.615" v="684" actId="1038"/>
          <ac:spMkLst>
            <pc:docMk/>
            <pc:sldMk cId="1536178990" sldId="2147478876"/>
            <ac:spMk id="12" creationId="{C208647B-081C-66C7-9FBA-C645D2D232BE}"/>
          </ac:spMkLst>
        </pc:spChg>
        <pc:spChg chg="mod">
          <ac:chgData name="Jesse Noffsinger" userId="bc07d745-5b3a-4e8f-8554-c306a9634248" providerId="ADAL" clId="{FB32765A-8B8A-4B6E-8BA0-55F32919167A}" dt="2026-01-30T18:45:10.941" v="407" actId="1038"/>
          <ac:spMkLst>
            <pc:docMk/>
            <pc:sldMk cId="1536178990" sldId="2147478876"/>
            <ac:spMk id="13" creationId="{55F65626-D24B-1804-0CC1-4ED92C2A34E0}"/>
          </ac:spMkLst>
        </pc:spChg>
        <pc:spChg chg="mod">
          <ac:chgData name="Jesse Noffsinger" userId="bc07d745-5b3a-4e8f-8554-c306a9634248" providerId="ADAL" clId="{FB32765A-8B8A-4B6E-8BA0-55F32919167A}" dt="2026-01-30T18:51:21.753" v="707" actId="20577"/>
          <ac:spMkLst>
            <pc:docMk/>
            <pc:sldMk cId="1536178990" sldId="2147478876"/>
            <ac:spMk id="14" creationId="{1A1B6BEB-445B-4EB9-0E4C-488C88B57579}"/>
          </ac:spMkLst>
        </pc:spChg>
        <pc:spChg chg="add mod">
          <ac:chgData name="Jesse Noffsinger" userId="bc07d745-5b3a-4e8f-8554-c306a9634248" providerId="ADAL" clId="{FB32765A-8B8A-4B6E-8BA0-55F32919167A}" dt="2026-01-30T18:45:41.534" v="441" actId="1076"/>
          <ac:spMkLst>
            <pc:docMk/>
            <pc:sldMk cId="1536178990" sldId="2147478876"/>
            <ac:spMk id="15" creationId="{18700D0B-7EBA-591C-653F-40750B7B0601}"/>
          </ac:spMkLst>
        </pc:spChg>
        <pc:spChg chg="mod">
          <ac:chgData name="Jesse Noffsinger" userId="bc07d745-5b3a-4e8f-8554-c306a9634248" providerId="ADAL" clId="{FB32765A-8B8A-4B6E-8BA0-55F32919167A}" dt="2026-01-30T18:44:42.457" v="390" actId="1076"/>
          <ac:spMkLst>
            <pc:docMk/>
            <pc:sldMk cId="1536178990" sldId="2147478876"/>
            <ac:spMk id="16" creationId="{DBA9726C-3CC2-33A7-5AA1-679C77B4BFB6}"/>
          </ac:spMkLst>
        </pc:spChg>
        <pc:spChg chg="mod">
          <ac:chgData name="Jesse Noffsinger" userId="bc07d745-5b3a-4e8f-8554-c306a9634248" providerId="ADAL" clId="{FB32765A-8B8A-4B6E-8BA0-55F32919167A}" dt="2026-01-30T18:45:10.941" v="407" actId="1038"/>
          <ac:spMkLst>
            <pc:docMk/>
            <pc:sldMk cId="1536178990" sldId="2147478876"/>
            <ac:spMk id="21" creationId="{FDEDDFB7-9E36-60CF-246C-5CBC98388779}"/>
          </ac:spMkLst>
        </pc:spChg>
        <pc:spChg chg="add mod">
          <ac:chgData name="Jesse Noffsinger" userId="bc07d745-5b3a-4e8f-8554-c306a9634248" providerId="ADAL" clId="{FB32765A-8B8A-4B6E-8BA0-55F32919167A}" dt="2026-01-30T18:45:41.534" v="441" actId="1076"/>
          <ac:spMkLst>
            <pc:docMk/>
            <pc:sldMk cId="1536178990" sldId="2147478876"/>
            <ac:spMk id="23" creationId="{8B1FA801-28B7-229B-9FA7-449407BA6618}"/>
          </ac:spMkLst>
        </pc:spChg>
        <pc:spChg chg="mod">
          <ac:chgData name="Jesse Noffsinger" userId="bc07d745-5b3a-4e8f-8554-c306a9634248" providerId="ADAL" clId="{FB32765A-8B8A-4B6E-8BA0-55F32919167A}" dt="2026-01-30T18:45:23.708" v="427" actId="1038"/>
          <ac:spMkLst>
            <pc:docMk/>
            <pc:sldMk cId="1536178990" sldId="2147478876"/>
            <ac:spMk id="25" creationId="{5CA61D97-A329-E0D2-6FDD-446F0D5E1AB4}"/>
          </ac:spMkLst>
        </pc:spChg>
        <pc:spChg chg="mod">
          <ac:chgData name="Jesse Noffsinger" userId="bc07d745-5b3a-4e8f-8554-c306a9634248" providerId="ADAL" clId="{FB32765A-8B8A-4B6E-8BA0-55F32919167A}" dt="2026-01-30T18:45:10.941" v="407" actId="1038"/>
          <ac:spMkLst>
            <pc:docMk/>
            <pc:sldMk cId="1536178990" sldId="2147478876"/>
            <ac:spMk id="27" creationId="{78E9111C-A3D5-E576-736D-83BC384D7B9A}"/>
          </ac:spMkLst>
        </pc:spChg>
        <pc:spChg chg="mod">
          <ac:chgData name="Jesse Noffsinger" userId="bc07d745-5b3a-4e8f-8554-c306a9634248" providerId="ADAL" clId="{FB32765A-8B8A-4B6E-8BA0-55F32919167A}" dt="2026-01-30T18:45:23.708" v="427" actId="1038"/>
          <ac:spMkLst>
            <pc:docMk/>
            <pc:sldMk cId="1536178990" sldId="2147478876"/>
            <ac:spMk id="28" creationId="{3C68B181-C1FB-02E7-E838-0F10B3F5FA10}"/>
          </ac:spMkLst>
        </pc:spChg>
        <pc:spChg chg="mod">
          <ac:chgData name="Jesse Noffsinger" userId="bc07d745-5b3a-4e8f-8554-c306a9634248" providerId="ADAL" clId="{FB32765A-8B8A-4B6E-8BA0-55F32919167A}" dt="2026-01-30T18:45:23.708" v="427" actId="1038"/>
          <ac:spMkLst>
            <pc:docMk/>
            <pc:sldMk cId="1536178990" sldId="2147478876"/>
            <ac:spMk id="29" creationId="{4C34FEE5-3DE3-680A-7DB3-DBA6091247BE}"/>
          </ac:spMkLst>
        </pc:spChg>
        <pc:spChg chg="add mod">
          <ac:chgData name="Jesse Noffsinger" userId="bc07d745-5b3a-4e8f-8554-c306a9634248" providerId="ADAL" clId="{FB32765A-8B8A-4B6E-8BA0-55F32919167A}" dt="2026-01-30T18:45:41.534" v="441" actId="1076"/>
          <ac:spMkLst>
            <pc:docMk/>
            <pc:sldMk cId="1536178990" sldId="2147478876"/>
            <ac:spMk id="31" creationId="{4EE33837-7437-85F2-F883-6CC3762085B5}"/>
          </ac:spMkLst>
        </pc:spChg>
        <pc:spChg chg="add mod">
          <ac:chgData name="Jesse Noffsinger" userId="bc07d745-5b3a-4e8f-8554-c306a9634248" providerId="ADAL" clId="{FB32765A-8B8A-4B6E-8BA0-55F32919167A}" dt="2026-01-30T18:45:41.534" v="441" actId="1076"/>
          <ac:spMkLst>
            <pc:docMk/>
            <pc:sldMk cId="1536178990" sldId="2147478876"/>
            <ac:spMk id="33" creationId="{121E18E1-AE90-7CAB-466D-1EA1E382852F}"/>
          </ac:spMkLst>
        </pc:spChg>
        <pc:spChg chg="mod">
          <ac:chgData name="Jesse Noffsinger" userId="bc07d745-5b3a-4e8f-8554-c306a9634248" providerId="ADAL" clId="{FB32765A-8B8A-4B6E-8BA0-55F32919167A}" dt="2026-01-30T18:45:23.708" v="427" actId="1038"/>
          <ac:spMkLst>
            <pc:docMk/>
            <pc:sldMk cId="1536178990" sldId="2147478876"/>
            <ac:spMk id="34" creationId="{106BFE68-164E-2251-F5FF-CB00B1F04F8A}"/>
          </ac:spMkLst>
        </pc:spChg>
        <pc:spChg chg="mod">
          <ac:chgData name="Jesse Noffsinger" userId="bc07d745-5b3a-4e8f-8554-c306a9634248" providerId="ADAL" clId="{FB32765A-8B8A-4B6E-8BA0-55F32919167A}" dt="2026-01-30T18:45:10.941" v="407" actId="1038"/>
          <ac:spMkLst>
            <pc:docMk/>
            <pc:sldMk cId="1536178990" sldId="2147478876"/>
            <ac:spMk id="35" creationId="{A5CD20EE-BCC8-865E-C071-E49EB0448FCB}"/>
          </ac:spMkLst>
        </pc:spChg>
        <pc:spChg chg="mod">
          <ac:chgData name="Jesse Noffsinger" userId="bc07d745-5b3a-4e8f-8554-c306a9634248" providerId="ADAL" clId="{FB32765A-8B8A-4B6E-8BA0-55F32919167A}" dt="2026-01-30T18:45:23.708" v="427" actId="1038"/>
          <ac:spMkLst>
            <pc:docMk/>
            <pc:sldMk cId="1536178990" sldId="2147478876"/>
            <ac:spMk id="36" creationId="{472F24AC-2BF6-EC42-4128-A6427BA5F561}"/>
          </ac:spMkLst>
        </pc:spChg>
        <pc:spChg chg="add mod">
          <ac:chgData name="Jesse Noffsinger" userId="bc07d745-5b3a-4e8f-8554-c306a9634248" providerId="ADAL" clId="{FB32765A-8B8A-4B6E-8BA0-55F32919167A}" dt="2026-01-30T18:45:41.534" v="441" actId="1076"/>
          <ac:spMkLst>
            <pc:docMk/>
            <pc:sldMk cId="1536178990" sldId="2147478876"/>
            <ac:spMk id="37" creationId="{38557E07-2ADC-4012-262A-31A5987097D4}"/>
          </ac:spMkLst>
        </pc:spChg>
        <pc:spChg chg="mod">
          <ac:chgData name="Jesse Noffsinger" userId="bc07d745-5b3a-4e8f-8554-c306a9634248" providerId="ADAL" clId="{FB32765A-8B8A-4B6E-8BA0-55F32919167A}" dt="2026-01-30T18:45:23.708" v="427" actId="1038"/>
          <ac:spMkLst>
            <pc:docMk/>
            <pc:sldMk cId="1536178990" sldId="2147478876"/>
            <ac:spMk id="43" creationId="{A44DC08E-6FFA-176D-404D-4EF53671C70E}"/>
          </ac:spMkLst>
        </pc:spChg>
        <pc:spChg chg="mod">
          <ac:chgData name="Jesse Noffsinger" userId="bc07d745-5b3a-4e8f-8554-c306a9634248" providerId="ADAL" clId="{FB32765A-8B8A-4B6E-8BA0-55F32919167A}" dt="2026-01-30T18:45:23.708" v="427" actId="1038"/>
          <ac:spMkLst>
            <pc:docMk/>
            <pc:sldMk cId="1536178990" sldId="2147478876"/>
            <ac:spMk id="44" creationId="{1D30F855-C8A7-DE73-BFDC-FA45EC69F826}"/>
          </ac:spMkLst>
        </pc:spChg>
        <pc:spChg chg="mod">
          <ac:chgData name="Jesse Noffsinger" userId="bc07d745-5b3a-4e8f-8554-c306a9634248" providerId="ADAL" clId="{FB32765A-8B8A-4B6E-8BA0-55F32919167A}" dt="2026-01-30T18:45:23.708" v="427" actId="1038"/>
          <ac:spMkLst>
            <pc:docMk/>
            <pc:sldMk cId="1536178990" sldId="2147478876"/>
            <ac:spMk id="45" creationId="{184D68AF-AB73-86A2-73E8-38C722C530B5}"/>
          </ac:spMkLst>
        </pc:spChg>
        <pc:spChg chg="add mod">
          <ac:chgData name="Jesse Noffsinger" userId="bc07d745-5b3a-4e8f-8554-c306a9634248" providerId="ADAL" clId="{FB32765A-8B8A-4B6E-8BA0-55F32919167A}" dt="2026-01-30T18:45:41.534" v="441" actId="1076"/>
          <ac:spMkLst>
            <pc:docMk/>
            <pc:sldMk cId="1536178990" sldId="2147478876"/>
            <ac:spMk id="46" creationId="{10F51B8B-1C09-78D8-2AEA-90F09DF69033}"/>
          </ac:spMkLst>
        </pc:spChg>
        <pc:spChg chg="mod">
          <ac:chgData name="Jesse Noffsinger" userId="bc07d745-5b3a-4e8f-8554-c306a9634248" providerId="ADAL" clId="{FB32765A-8B8A-4B6E-8BA0-55F32919167A}" dt="2026-01-30T18:44:50.543" v="391" actId="1076"/>
          <ac:spMkLst>
            <pc:docMk/>
            <pc:sldMk cId="1536178990" sldId="2147478876"/>
            <ac:spMk id="49" creationId="{EC81DB57-3179-AD80-2730-8F2E29AF5246}"/>
          </ac:spMkLst>
        </pc:spChg>
        <pc:spChg chg="mod">
          <ac:chgData name="Jesse Noffsinger" userId="bc07d745-5b3a-4e8f-8554-c306a9634248" providerId="ADAL" clId="{FB32765A-8B8A-4B6E-8BA0-55F32919167A}" dt="2026-01-30T18:44:50.543" v="391" actId="1076"/>
          <ac:spMkLst>
            <pc:docMk/>
            <pc:sldMk cId="1536178990" sldId="2147478876"/>
            <ac:spMk id="50" creationId="{ABDAFF7B-4C03-4836-35EB-56E65FE12419}"/>
          </ac:spMkLst>
        </pc:spChg>
        <pc:spChg chg="mod">
          <ac:chgData name="Jesse Noffsinger" userId="bc07d745-5b3a-4e8f-8554-c306a9634248" providerId="ADAL" clId="{FB32765A-8B8A-4B6E-8BA0-55F32919167A}" dt="2026-01-30T18:44:50.543" v="391" actId="1076"/>
          <ac:spMkLst>
            <pc:docMk/>
            <pc:sldMk cId="1536178990" sldId="2147478876"/>
            <ac:spMk id="51" creationId="{0259A22F-9F49-449B-3CF4-93FC5E80B1DA}"/>
          </ac:spMkLst>
        </pc:spChg>
        <pc:spChg chg="mod">
          <ac:chgData name="Jesse Noffsinger" userId="bc07d745-5b3a-4e8f-8554-c306a9634248" providerId="ADAL" clId="{FB32765A-8B8A-4B6E-8BA0-55F32919167A}" dt="2026-01-30T18:44:50.543" v="391" actId="1076"/>
          <ac:spMkLst>
            <pc:docMk/>
            <pc:sldMk cId="1536178990" sldId="2147478876"/>
            <ac:spMk id="52" creationId="{EB12C2A6-61A5-7BBB-05E1-6D534D195F43}"/>
          </ac:spMkLst>
        </pc:spChg>
        <pc:spChg chg="mod">
          <ac:chgData name="Jesse Noffsinger" userId="bc07d745-5b3a-4e8f-8554-c306a9634248" providerId="ADAL" clId="{FB32765A-8B8A-4B6E-8BA0-55F32919167A}" dt="2026-01-30T18:44:50.543" v="391" actId="1076"/>
          <ac:spMkLst>
            <pc:docMk/>
            <pc:sldMk cId="1536178990" sldId="2147478876"/>
            <ac:spMk id="54" creationId="{1FBA42F8-8CBD-935B-1325-9D925D0CBCFC}"/>
          </ac:spMkLst>
        </pc:spChg>
        <pc:spChg chg="add mod">
          <ac:chgData name="Jesse Noffsinger" userId="bc07d745-5b3a-4e8f-8554-c306a9634248" providerId="ADAL" clId="{FB32765A-8B8A-4B6E-8BA0-55F32919167A}" dt="2026-01-30T18:45:41.534" v="441" actId="1076"/>
          <ac:spMkLst>
            <pc:docMk/>
            <pc:sldMk cId="1536178990" sldId="2147478876"/>
            <ac:spMk id="56" creationId="{A334B1FD-715E-845A-8DBB-A3DD04A381B7}"/>
          </ac:spMkLst>
        </pc:spChg>
        <pc:spChg chg="mod">
          <ac:chgData name="Jesse Noffsinger" userId="bc07d745-5b3a-4e8f-8554-c306a9634248" providerId="ADAL" clId="{FB32765A-8B8A-4B6E-8BA0-55F32919167A}" dt="2026-01-30T18:44:50.543" v="391" actId="1076"/>
          <ac:spMkLst>
            <pc:docMk/>
            <pc:sldMk cId="1536178990" sldId="2147478876"/>
            <ac:spMk id="57" creationId="{0D0B0D1A-5482-8372-F742-60F636FBF391}"/>
          </ac:spMkLst>
        </pc:spChg>
        <pc:spChg chg="add mod">
          <ac:chgData name="Jesse Noffsinger" userId="bc07d745-5b3a-4e8f-8554-c306a9634248" providerId="ADAL" clId="{FB32765A-8B8A-4B6E-8BA0-55F32919167A}" dt="2026-01-30T18:46:23.937" v="450" actId="20577"/>
          <ac:spMkLst>
            <pc:docMk/>
            <pc:sldMk cId="1536178990" sldId="2147478876"/>
            <ac:spMk id="58" creationId="{DF623E43-38F0-608F-DFA1-EC78FFC80617}"/>
          </ac:spMkLst>
        </pc:spChg>
        <pc:spChg chg="mod">
          <ac:chgData name="Jesse Noffsinger" userId="bc07d745-5b3a-4e8f-8554-c306a9634248" providerId="ADAL" clId="{FB32765A-8B8A-4B6E-8BA0-55F32919167A}" dt="2026-01-30T18:46:21.322" v="449" actId="20577"/>
          <ac:spMkLst>
            <pc:docMk/>
            <pc:sldMk cId="1536178990" sldId="2147478876"/>
            <ac:spMk id="59" creationId="{1A605741-AD41-4883-1F9F-A3343FEB7546}"/>
          </ac:spMkLst>
        </pc:spChg>
        <pc:spChg chg="mod">
          <ac:chgData name="Jesse Noffsinger" userId="bc07d745-5b3a-4e8f-8554-c306a9634248" providerId="ADAL" clId="{FB32765A-8B8A-4B6E-8BA0-55F32919167A}" dt="2026-01-30T18:44:50.543" v="391" actId="1076"/>
          <ac:spMkLst>
            <pc:docMk/>
            <pc:sldMk cId="1536178990" sldId="2147478876"/>
            <ac:spMk id="60" creationId="{95AD860F-A47C-C839-FAAF-E49B04CABEC8}"/>
          </ac:spMkLst>
        </pc:spChg>
        <pc:spChg chg="del">
          <ac:chgData name="Jesse Noffsinger" userId="bc07d745-5b3a-4e8f-8554-c306a9634248" providerId="ADAL" clId="{FB32765A-8B8A-4B6E-8BA0-55F32919167A}" dt="2026-01-30T18:43:58.423" v="381" actId="478"/>
          <ac:spMkLst>
            <pc:docMk/>
            <pc:sldMk cId="1536178990" sldId="2147478876"/>
            <ac:spMk id="62" creationId="{D9F141EA-C963-EF8E-FFF7-433B427683D0}"/>
          </ac:spMkLst>
        </pc:spChg>
        <pc:spChg chg="del">
          <ac:chgData name="Jesse Noffsinger" userId="bc07d745-5b3a-4e8f-8554-c306a9634248" providerId="ADAL" clId="{FB32765A-8B8A-4B6E-8BA0-55F32919167A}" dt="2026-01-30T18:43:58.423" v="381" actId="478"/>
          <ac:spMkLst>
            <pc:docMk/>
            <pc:sldMk cId="1536178990" sldId="2147478876"/>
            <ac:spMk id="63" creationId="{011F780A-70C3-DB01-8C25-3D4AB144161B}"/>
          </ac:spMkLst>
        </pc:spChg>
        <pc:spChg chg="del">
          <ac:chgData name="Jesse Noffsinger" userId="bc07d745-5b3a-4e8f-8554-c306a9634248" providerId="ADAL" clId="{FB32765A-8B8A-4B6E-8BA0-55F32919167A}" dt="2026-01-30T18:43:58.423" v="381" actId="478"/>
          <ac:spMkLst>
            <pc:docMk/>
            <pc:sldMk cId="1536178990" sldId="2147478876"/>
            <ac:spMk id="64" creationId="{32676C3E-06E0-26EA-B80F-D7C968BA753B}"/>
          </ac:spMkLst>
        </pc:spChg>
        <pc:spChg chg="add del mod">
          <ac:chgData name="Jesse Noffsinger" userId="bc07d745-5b3a-4e8f-8554-c306a9634248" providerId="ADAL" clId="{FB32765A-8B8A-4B6E-8BA0-55F32919167A}" dt="2026-01-30T18:43:58.423" v="381" actId="478"/>
          <ac:spMkLst>
            <pc:docMk/>
            <pc:sldMk cId="1536178990" sldId="2147478876"/>
            <ac:spMk id="65" creationId="{B5888838-B513-AEB4-2DCC-F1676F446B9A}"/>
          </ac:spMkLst>
        </pc:spChg>
        <pc:spChg chg="del">
          <ac:chgData name="Jesse Noffsinger" userId="bc07d745-5b3a-4e8f-8554-c306a9634248" providerId="ADAL" clId="{FB32765A-8B8A-4B6E-8BA0-55F32919167A}" dt="2026-01-30T18:43:58.423" v="381" actId="478"/>
          <ac:spMkLst>
            <pc:docMk/>
            <pc:sldMk cId="1536178990" sldId="2147478876"/>
            <ac:spMk id="66" creationId="{8C9523D9-D976-CDDE-FB9D-F2AA383A63F1}"/>
          </ac:spMkLst>
        </pc:spChg>
        <pc:spChg chg="del">
          <ac:chgData name="Jesse Noffsinger" userId="bc07d745-5b3a-4e8f-8554-c306a9634248" providerId="ADAL" clId="{FB32765A-8B8A-4B6E-8BA0-55F32919167A}" dt="2026-01-30T18:43:58.423" v="381" actId="478"/>
          <ac:spMkLst>
            <pc:docMk/>
            <pc:sldMk cId="1536178990" sldId="2147478876"/>
            <ac:spMk id="67" creationId="{84BAEB4C-C9EE-2213-C60B-811B98D4BFE9}"/>
          </ac:spMkLst>
        </pc:spChg>
        <pc:spChg chg="del">
          <ac:chgData name="Jesse Noffsinger" userId="bc07d745-5b3a-4e8f-8554-c306a9634248" providerId="ADAL" clId="{FB32765A-8B8A-4B6E-8BA0-55F32919167A}" dt="2026-01-30T18:43:58.423" v="381" actId="478"/>
          <ac:spMkLst>
            <pc:docMk/>
            <pc:sldMk cId="1536178990" sldId="2147478876"/>
            <ac:spMk id="68" creationId="{28606063-D1DE-AFB2-8EE4-DA71EA0B8D74}"/>
          </ac:spMkLst>
        </pc:spChg>
        <pc:spChg chg="del">
          <ac:chgData name="Jesse Noffsinger" userId="bc07d745-5b3a-4e8f-8554-c306a9634248" providerId="ADAL" clId="{FB32765A-8B8A-4B6E-8BA0-55F32919167A}" dt="2026-01-30T18:44:02.556" v="382" actId="478"/>
          <ac:spMkLst>
            <pc:docMk/>
            <pc:sldMk cId="1536178990" sldId="2147478876"/>
            <ac:spMk id="69" creationId="{60AF84C2-4D3F-65EB-14B1-479C354962C4}"/>
          </ac:spMkLst>
        </pc:spChg>
        <pc:spChg chg="del">
          <ac:chgData name="Jesse Noffsinger" userId="bc07d745-5b3a-4e8f-8554-c306a9634248" providerId="ADAL" clId="{FB32765A-8B8A-4B6E-8BA0-55F32919167A}" dt="2026-01-30T18:44:02.556" v="382" actId="478"/>
          <ac:spMkLst>
            <pc:docMk/>
            <pc:sldMk cId="1536178990" sldId="2147478876"/>
            <ac:spMk id="70" creationId="{4BE1E234-82F8-E4BF-6600-3429CE2D012C}"/>
          </ac:spMkLst>
        </pc:spChg>
        <pc:spChg chg="add del mod">
          <ac:chgData name="Jesse Noffsinger" userId="bc07d745-5b3a-4e8f-8554-c306a9634248" providerId="ADAL" clId="{FB32765A-8B8A-4B6E-8BA0-55F32919167A}" dt="2026-01-30T18:44:02.556" v="382" actId="478"/>
          <ac:spMkLst>
            <pc:docMk/>
            <pc:sldMk cId="1536178990" sldId="2147478876"/>
            <ac:spMk id="71" creationId="{9DBDD804-1C69-1986-D89F-7C92BD443777}"/>
          </ac:spMkLst>
        </pc:spChg>
        <pc:spChg chg="del">
          <ac:chgData name="Jesse Noffsinger" userId="bc07d745-5b3a-4e8f-8554-c306a9634248" providerId="ADAL" clId="{FB32765A-8B8A-4B6E-8BA0-55F32919167A}" dt="2026-01-30T18:44:02.556" v="382" actId="478"/>
          <ac:spMkLst>
            <pc:docMk/>
            <pc:sldMk cId="1536178990" sldId="2147478876"/>
            <ac:spMk id="72" creationId="{F36B6C78-FA7E-D4BC-BC36-56A8F26A9C01}"/>
          </ac:spMkLst>
        </pc:spChg>
        <pc:spChg chg="del">
          <ac:chgData name="Jesse Noffsinger" userId="bc07d745-5b3a-4e8f-8554-c306a9634248" providerId="ADAL" clId="{FB32765A-8B8A-4B6E-8BA0-55F32919167A}" dt="2026-01-30T18:43:39.396" v="377" actId="478"/>
          <ac:spMkLst>
            <pc:docMk/>
            <pc:sldMk cId="1536178990" sldId="2147478876"/>
            <ac:spMk id="73" creationId="{66B2845A-64E3-1440-160A-94B04B7030FC}"/>
          </ac:spMkLst>
        </pc:spChg>
        <pc:spChg chg="del">
          <ac:chgData name="Jesse Noffsinger" userId="bc07d745-5b3a-4e8f-8554-c306a9634248" providerId="ADAL" clId="{FB32765A-8B8A-4B6E-8BA0-55F32919167A}" dt="2026-01-30T18:43:39.396" v="377" actId="478"/>
          <ac:spMkLst>
            <pc:docMk/>
            <pc:sldMk cId="1536178990" sldId="2147478876"/>
            <ac:spMk id="74" creationId="{C84278ED-6F5F-EF16-726F-95C9E98493DF}"/>
          </ac:spMkLst>
        </pc:spChg>
        <pc:spChg chg="del mod">
          <ac:chgData name="Jesse Noffsinger" userId="bc07d745-5b3a-4e8f-8554-c306a9634248" providerId="ADAL" clId="{FB32765A-8B8A-4B6E-8BA0-55F32919167A}" dt="2026-01-30T18:43:58.423" v="381" actId="478"/>
          <ac:spMkLst>
            <pc:docMk/>
            <pc:sldMk cId="1536178990" sldId="2147478876"/>
            <ac:spMk id="75" creationId="{968B119C-24E2-ED23-35E9-12433B5A1962}"/>
          </ac:spMkLst>
        </pc:spChg>
        <pc:spChg chg="del">
          <ac:chgData name="Jesse Noffsinger" userId="bc07d745-5b3a-4e8f-8554-c306a9634248" providerId="ADAL" clId="{FB32765A-8B8A-4B6E-8BA0-55F32919167A}" dt="2026-01-30T18:43:58.423" v="381" actId="478"/>
          <ac:spMkLst>
            <pc:docMk/>
            <pc:sldMk cId="1536178990" sldId="2147478876"/>
            <ac:spMk id="76" creationId="{23D641B0-CAA0-D67F-0E10-C7576BD16D63}"/>
          </ac:spMkLst>
        </pc:spChg>
        <pc:spChg chg="mod">
          <ac:chgData name="Jesse Noffsinger" userId="bc07d745-5b3a-4e8f-8554-c306a9634248" providerId="ADAL" clId="{FB32765A-8B8A-4B6E-8BA0-55F32919167A}" dt="2026-01-30T18:50:40.321" v="680" actId="1038"/>
          <ac:spMkLst>
            <pc:docMk/>
            <pc:sldMk cId="1536178990" sldId="2147478876"/>
            <ac:spMk id="80" creationId="{D6F3E2FB-8856-D603-8C6C-2E87A8EAF6C4}"/>
          </ac:spMkLst>
        </pc:spChg>
        <pc:spChg chg="mod">
          <ac:chgData name="Jesse Noffsinger" userId="bc07d745-5b3a-4e8f-8554-c306a9634248" providerId="ADAL" clId="{FB32765A-8B8A-4B6E-8BA0-55F32919167A}" dt="2026-01-30T18:50:40.321" v="680" actId="1038"/>
          <ac:spMkLst>
            <pc:docMk/>
            <pc:sldMk cId="1536178990" sldId="2147478876"/>
            <ac:spMk id="82" creationId="{185E47F6-EB4E-A8FB-8A88-BAF715ECB6C7}"/>
          </ac:spMkLst>
        </pc:spChg>
        <pc:spChg chg="mod">
          <ac:chgData name="Jesse Noffsinger" userId="bc07d745-5b3a-4e8f-8554-c306a9634248" providerId="ADAL" clId="{FB32765A-8B8A-4B6E-8BA0-55F32919167A}" dt="2026-01-30T18:45:05.661" v="397" actId="1037"/>
          <ac:spMkLst>
            <pc:docMk/>
            <pc:sldMk cId="1536178990" sldId="2147478876"/>
            <ac:spMk id="84" creationId="{BB9DB9E0-D08F-B740-5B53-FA0CD264DA96}"/>
          </ac:spMkLst>
        </pc:spChg>
        <pc:spChg chg="mod">
          <ac:chgData name="Jesse Noffsinger" userId="bc07d745-5b3a-4e8f-8554-c306a9634248" providerId="ADAL" clId="{FB32765A-8B8A-4B6E-8BA0-55F32919167A}" dt="2026-01-30T18:50:40.321" v="680" actId="1038"/>
          <ac:spMkLst>
            <pc:docMk/>
            <pc:sldMk cId="1536178990" sldId="2147478876"/>
            <ac:spMk id="86" creationId="{E94D9B4A-AD85-2C65-2361-D05A294B2372}"/>
          </ac:spMkLst>
        </pc:spChg>
        <pc:spChg chg="mod">
          <ac:chgData name="Jesse Noffsinger" userId="bc07d745-5b3a-4e8f-8554-c306a9634248" providerId="ADAL" clId="{FB32765A-8B8A-4B6E-8BA0-55F32919167A}" dt="2026-01-30T18:45:05.661" v="397" actId="1037"/>
          <ac:spMkLst>
            <pc:docMk/>
            <pc:sldMk cId="1536178990" sldId="2147478876"/>
            <ac:spMk id="88" creationId="{ECB4B91C-270C-CD6A-BE4E-F083434BDC47}"/>
          </ac:spMkLst>
        </pc:spChg>
        <pc:spChg chg="mod">
          <ac:chgData name="Jesse Noffsinger" userId="bc07d745-5b3a-4e8f-8554-c306a9634248" providerId="ADAL" clId="{FB32765A-8B8A-4B6E-8BA0-55F32919167A}" dt="2026-01-30T18:50:40.321" v="680" actId="1038"/>
          <ac:spMkLst>
            <pc:docMk/>
            <pc:sldMk cId="1536178990" sldId="2147478876"/>
            <ac:spMk id="90" creationId="{94D87794-8D74-C332-8783-325EFC45CCBE}"/>
          </ac:spMkLst>
        </pc:spChg>
        <pc:spChg chg="mod">
          <ac:chgData name="Jesse Noffsinger" userId="bc07d745-5b3a-4e8f-8554-c306a9634248" providerId="ADAL" clId="{FB32765A-8B8A-4B6E-8BA0-55F32919167A}" dt="2026-01-30T18:50:40.321" v="680" actId="1038"/>
          <ac:spMkLst>
            <pc:docMk/>
            <pc:sldMk cId="1536178990" sldId="2147478876"/>
            <ac:spMk id="92" creationId="{7F3D9FBD-8C12-ACC2-0F07-B216480B21A6}"/>
          </ac:spMkLst>
        </pc:spChg>
        <pc:spChg chg="mod">
          <ac:chgData name="Jesse Noffsinger" userId="bc07d745-5b3a-4e8f-8554-c306a9634248" providerId="ADAL" clId="{FB32765A-8B8A-4B6E-8BA0-55F32919167A}" dt="2026-01-30T18:50:40.321" v="680" actId="1038"/>
          <ac:spMkLst>
            <pc:docMk/>
            <pc:sldMk cId="1536178990" sldId="2147478876"/>
            <ac:spMk id="94" creationId="{899C9D30-B03E-C7BF-49F8-2BF3BC9C18DF}"/>
          </ac:spMkLst>
        </pc:spChg>
        <pc:spChg chg="mod">
          <ac:chgData name="Jesse Noffsinger" userId="bc07d745-5b3a-4e8f-8554-c306a9634248" providerId="ADAL" clId="{FB32765A-8B8A-4B6E-8BA0-55F32919167A}" dt="2026-01-30T18:50:40.321" v="680" actId="1038"/>
          <ac:spMkLst>
            <pc:docMk/>
            <pc:sldMk cId="1536178990" sldId="2147478876"/>
            <ac:spMk id="96" creationId="{83418B8D-2B97-8936-723D-C1F070B6BADD}"/>
          </ac:spMkLst>
        </pc:spChg>
        <pc:spChg chg="mod">
          <ac:chgData name="Jesse Noffsinger" userId="bc07d745-5b3a-4e8f-8554-c306a9634248" providerId="ADAL" clId="{FB32765A-8B8A-4B6E-8BA0-55F32919167A}" dt="2026-01-30T18:50:40.321" v="680" actId="1038"/>
          <ac:spMkLst>
            <pc:docMk/>
            <pc:sldMk cId="1536178990" sldId="2147478876"/>
            <ac:spMk id="98" creationId="{37CB05CC-F0F5-F5F3-5CD5-177A8FBD3830}"/>
          </ac:spMkLst>
        </pc:spChg>
        <pc:spChg chg="mod">
          <ac:chgData name="Jesse Noffsinger" userId="bc07d745-5b3a-4e8f-8554-c306a9634248" providerId="ADAL" clId="{FB32765A-8B8A-4B6E-8BA0-55F32919167A}" dt="2026-01-30T18:45:05.661" v="397" actId="1037"/>
          <ac:spMkLst>
            <pc:docMk/>
            <pc:sldMk cId="1536178990" sldId="2147478876"/>
            <ac:spMk id="100" creationId="{C6A45892-D8F6-137B-A805-F4595FF897B8}"/>
          </ac:spMkLst>
        </pc:spChg>
        <pc:spChg chg="mod">
          <ac:chgData name="Jesse Noffsinger" userId="bc07d745-5b3a-4e8f-8554-c306a9634248" providerId="ADAL" clId="{FB32765A-8B8A-4B6E-8BA0-55F32919167A}" dt="2026-01-30T18:50:40.321" v="680" actId="1038"/>
          <ac:spMkLst>
            <pc:docMk/>
            <pc:sldMk cId="1536178990" sldId="2147478876"/>
            <ac:spMk id="104" creationId="{BAE2F13A-6631-32DC-861D-94F7D7A418FD}"/>
          </ac:spMkLst>
        </pc:spChg>
        <pc:spChg chg="mod">
          <ac:chgData name="Jesse Noffsinger" userId="bc07d745-5b3a-4e8f-8554-c306a9634248" providerId="ADAL" clId="{FB32765A-8B8A-4B6E-8BA0-55F32919167A}" dt="2026-01-30T18:50:40.321" v="680" actId="1038"/>
          <ac:spMkLst>
            <pc:docMk/>
            <pc:sldMk cId="1536178990" sldId="2147478876"/>
            <ac:spMk id="106" creationId="{A16E910C-FB67-2771-D267-0A0925ACD300}"/>
          </ac:spMkLst>
        </pc:spChg>
        <pc:spChg chg="mod">
          <ac:chgData name="Jesse Noffsinger" userId="bc07d745-5b3a-4e8f-8554-c306a9634248" providerId="ADAL" clId="{FB32765A-8B8A-4B6E-8BA0-55F32919167A}" dt="2026-01-30T18:45:34.542" v="440" actId="1037"/>
          <ac:spMkLst>
            <pc:docMk/>
            <pc:sldMk cId="1536178990" sldId="2147478876"/>
            <ac:spMk id="107" creationId="{F3C6C098-CADE-410C-F921-85DB252BA93E}"/>
          </ac:spMkLst>
        </pc:spChg>
        <pc:spChg chg="add mod">
          <ac:chgData name="Jesse Noffsinger" userId="bc07d745-5b3a-4e8f-8554-c306a9634248" providerId="ADAL" clId="{FB32765A-8B8A-4B6E-8BA0-55F32919167A}" dt="2026-01-30T18:44:42.457" v="390" actId="1076"/>
          <ac:spMkLst>
            <pc:docMk/>
            <pc:sldMk cId="1536178990" sldId="2147478876"/>
            <ac:spMk id="108" creationId="{5D80A129-6232-59AF-9B88-BE84BDD41CF1}"/>
          </ac:spMkLst>
        </pc:spChg>
        <pc:spChg chg="add mod">
          <ac:chgData name="Jesse Noffsinger" userId="bc07d745-5b3a-4e8f-8554-c306a9634248" providerId="ADAL" clId="{FB32765A-8B8A-4B6E-8BA0-55F32919167A}" dt="2026-01-30T18:44:37.238" v="387" actId="465"/>
          <ac:spMkLst>
            <pc:docMk/>
            <pc:sldMk cId="1536178990" sldId="2147478876"/>
            <ac:spMk id="109" creationId="{6E3352EF-29CA-DE7F-80A7-EACA97B22C25}"/>
          </ac:spMkLst>
        </pc:spChg>
        <pc:spChg chg="add mod">
          <ac:chgData name="Jesse Noffsinger" userId="bc07d745-5b3a-4e8f-8554-c306a9634248" providerId="ADAL" clId="{FB32765A-8B8A-4B6E-8BA0-55F32919167A}" dt="2026-01-30T18:44:42.457" v="390" actId="1076"/>
          <ac:spMkLst>
            <pc:docMk/>
            <pc:sldMk cId="1536178990" sldId="2147478876"/>
            <ac:spMk id="111" creationId="{94998DCF-2D7C-D815-B3CF-12E5E9652063}"/>
          </ac:spMkLst>
        </pc:spChg>
        <pc:spChg chg="add mod">
          <ac:chgData name="Jesse Noffsinger" userId="bc07d745-5b3a-4e8f-8554-c306a9634248" providerId="ADAL" clId="{FB32765A-8B8A-4B6E-8BA0-55F32919167A}" dt="2026-01-30T18:44:37.803" v="388" actId="552"/>
          <ac:spMkLst>
            <pc:docMk/>
            <pc:sldMk cId="1536178990" sldId="2147478876"/>
            <ac:spMk id="112" creationId="{E4A0352A-F6E6-5DEA-2D27-4105B3BA4B39}"/>
          </ac:spMkLst>
        </pc:spChg>
        <pc:spChg chg="add mod">
          <ac:chgData name="Jesse Noffsinger" userId="bc07d745-5b3a-4e8f-8554-c306a9634248" providerId="ADAL" clId="{FB32765A-8B8A-4B6E-8BA0-55F32919167A}" dt="2026-01-30T18:44:42.457" v="390" actId="1076"/>
          <ac:spMkLst>
            <pc:docMk/>
            <pc:sldMk cId="1536178990" sldId="2147478876"/>
            <ac:spMk id="113" creationId="{3CA0599D-BF20-9BA8-EE0D-A65BCAAB8D67}"/>
          </ac:spMkLst>
        </pc:spChg>
        <pc:spChg chg="add mod">
          <ac:chgData name="Jesse Noffsinger" userId="bc07d745-5b3a-4e8f-8554-c306a9634248" providerId="ADAL" clId="{FB32765A-8B8A-4B6E-8BA0-55F32919167A}" dt="2026-01-30T18:44:37.238" v="387" actId="465"/>
          <ac:spMkLst>
            <pc:docMk/>
            <pc:sldMk cId="1536178990" sldId="2147478876"/>
            <ac:spMk id="114" creationId="{E3A80ACD-EB2D-A1BA-5963-EF5710C2F47E}"/>
          </ac:spMkLst>
        </pc:spChg>
        <pc:spChg chg="add mod">
          <ac:chgData name="Jesse Noffsinger" userId="bc07d745-5b3a-4e8f-8554-c306a9634248" providerId="ADAL" clId="{FB32765A-8B8A-4B6E-8BA0-55F32919167A}" dt="2026-01-30T18:44:42.457" v="390" actId="1076"/>
          <ac:spMkLst>
            <pc:docMk/>
            <pc:sldMk cId="1536178990" sldId="2147478876"/>
            <ac:spMk id="115" creationId="{C97F2F2B-E205-D5D6-12C6-B119C945EA12}"/>
          </ac:spMkLst>
        </pc:spChg>
        <pc:spChg chg="add mod">
          <ac:chgData name="Jesse Noffsinger" userId="bc07d745-5b3a-4e8f-8554-c306a9634248" providerId="ADAL" clId="{FB32765A-8B8A-4B6E-8BA0-55F32919167A}" dt="2026-01-30T18:44:42.457" v="390" actId="1076"/>
          <ac:spMkLst>
            <pc:docMk/>
            <pc:sldMk cId="1536178990" sldId="2147478876"/>
            <ac:spMk id="116" creationId="{6F5A5F9B-6124-E0C4-CE19-FD67B44C9D19}"/>
          </ac:spMkLst>
        </pc:spChg>
        <pc:spChg chg="add mod">
          <ac:chgData name="Jesse Noffsinger" userId="bc07d745-5b3a-4e8f-8554-c306a9634248" providerId="ADAL" clId="{FB32765A-8B8A-4B6E-8BA0-55F32919167A}" dt="2026-01-30T18:44:27.637" v="384" actId="571"/>
          <ac:spMkLst>
            <pc:docMk/>
            <pc:sldMk cId="1536178990" sldId="2147478876"/>
            <ac:spMk id="117" creationId="{D060933E-6912-65E1-5DF9-95FEB73B288F}"/>
          </ac:spMkLst>
        </pc:spChg>
        <pc:spChg chg="add mod">
          <ac:chgData name="Jesse Noffsinger" userId="bc07d745-5b3a-4e8f-8554-c306a9634248" providerId="ADAL" clId="{FB32765A-8B8A-4B6E-8BA0-55F32919167A}" dt="2026-01-30T18:45:41.534" v="441" actId="1076"/>
          <ac:spMkLst>
            <pc:docMk/>
            <pc:sldMk cId="1536178990" sldId="2147478876"/>
            <ac:spMk id="118" creationId="{535B5EAC-FA90-304B-3B5E-83ADFB421B9E}"/>
          </ac:spMkLst>
        </pc:spChg>
        <pc:spChg chg="add mod">
          <ac:chgData name="Jesse Noffsinger" userId="bc07d745-5b3a-4e8f-8554-c306a9634248" providerId="ADAL" clId="{FB32765A-8B8A-4B6E-8BA0-55F32919167A}" dt="2026-01-30T18:44:42.457" v="390" actId="1076"/>
          <ac:spMkLst>
            <pc:docMk/>
            <pc:sldMk cId="1536178990" sldId="2147478876"/>
            <ac:spMk id="119" creationId="{A03BB6D9-E30D-533B-3D73-0E436D909AE5}"/>
          </ac:spMkLst>
        </pc:spChg>
        <pc:spChg chg="add mod">
          <ac:chgData name="Jesse Noffsinger" userId="bc07d745-5b3a-4e8f-8554-c306a9634248" providerId="ADAL" clId="{FB32765A-8B8A-4B6E-8BA0-55F32919167A}" dt="2026-01-30T18:45:41.534" v="441" actId="1076"/>
          <ac:spMkLst>
            <pc:docMk/>
            <pc:sldMk cId="1536178990" sldId="2147478876"/>
            <ac:spMk id="120" creationId="{BDB95EB6-18CC-FBB2-EE9B-F0687B6B7BC0}"/>
          </ac:spMkLst>
        </pc:spChg>
        <pc:spChg chg="add mod">
          <ac:chgData name="Jesse Noffsinger" userId="bc07d745-5b3a-4e8f-8554-c306a9634248" providerId="ADAL" clId="{FB32765A-8B8A-4B6E-8BA0-55F32919167A}" dt="2026-01-30T18:44:42.457" v="390" actId="1076"/>
          <ac:spMkLst>
            <pc:docMk/>
            <pc:sldMk cId="1536178990" sldId="2147478876"/>
            <ac:spMk id="121" creationId="{E3E2F19A-3086-CEC3-5D02-ED5C9426EAF8}"/>
          </ac:spMkLst>
        </pc:spChg>
        <pc:spChg chg="add mod">
          <ac:chgData name="Jesse Noffsinger" userId="bc07d745-5b3a-4e8f-8554-c306a9634248" providerId="ADAL" clId="{FB32765A-8B8A-4B6E-8BA0-55F32919167A}" dt="2026-01-30T18:44:33.281" v="386" actId="571"/>
          <ac:spMkLst>
            <pc:docMk/>
            <pc:sldMk cId="1536178990" sldId="2147478876"/>
            <ac:spMk id="122" creationId="{1B97F445-AA0D-AC19-84C9-6619CC438E33}"/>
          </ac:spMkLst>
        </pc:spChg>
        <pc:spChg chg="add mod">
          <ac:chgData name="Jesse Noffsinger" userId="bc07d745-5b3a-4e8f-8554-c306a9634248" providerId="ADAL" clId="{FB32765A-8B8A-4B6E-8BA0-55F32919167A}" dt="2026-01-30T18:44:42.457" v="390" actId="1076"/>
          <ac:spMkLst>
            <pc:docMk/>
            <pc:sldMk cId="1536178990" sldId="2147478876"/>
            <ac:spMk id="123" creationId="{2A661C34-BD9D-BF4C-A2CA-6C71CB137765}"/>
          </ac:spMkLst>
        </pc:spChg>
        <pc:spChg chg="add del mod modVis">
          <ac:chgData name="Jesse Noffsinger" userId="bc07d745-5b3a-4e8f-8554-c306a9634248" providerId="ADAL" clId="{FB32765A-8B8A-4B6E-8BA0-55F32919167A}" dt="2026-01-30T18:48:52.928" v="526"/>
          <ac:spMkLst>
            <pc:docMk/>
            <pc:sldMk cId="1536178990" sldId="2147478876"/>
            <ac:spMk id="124" creationId="{F10A1D96-85C0-1CB2-30D0-B85323A3ACA1}"/>
          </ac:spMkLst>
        </pc:spChg>
        <pc:spChg chg="add del mod modVis">
          <ac:chgData name="Jesse Noffsinger" userId="bc07d745-5b3a-4e8f-8554-c306a9634248" providerId="ADAL" clId="{FB32765A-8B8A-4B6E-8BA0-55F32919167A}" dt="2026-01-30T18:48:54.078" v="554"/>
          <ac:spMkLst>
            <pc:docMk/>
            <pc:sldMk cId="1536178990" sldId="2147478876"/>
            <ac:spMk id="125" creationId="{044066EB-F3C2-FFDB-87F6-BC02AD02EC0A}"/>
          </ac:spMkLst>
        </pc:spChg>
        <pc:spChg chg="mod">
          <ac:chgData name="Jesse Noffsinger" userId="bc07d745-5b3a-4e8f-8554-c306a9634248" providerId="ADAL" clId="{FB32765A-8B8A-4B6E-8BA0-55F32919167A}" dt="2026-01-30T18:51:18.134" v="702" actId="20577"/>
          <ac:spMkLst>
            <pc:docMk/>
            <pc:sldMk cId="1536178990" sldId="2147478876"/>
            <ac:spMk id="127" creationId="{22061540-CDA4-207F-5F4B-2FA6A49C5E1C}"/>
          </ac:spMkLst>
        </pc:spChg>
        <pc:spChg chg="add del mod modVis">
          <ac:chgData name="Jesse Noffsinger" userId="bc07d745-5b3a-4e8f-8554-c306a9634248" providerId="ADAL" clId="{FB32765A-8B8A-4B6E-8BA0-55F32919167A}" dt="2026-01-30T18:48:55.318" v="582"/>
          <ac:spMkLst>
            <pc:docMk/>
            <pc:sldMk cId="1536178990" sldId="2147478876"/>
            <ac:spMk id="128" creationId="{BBB84ED6-B7B0-FF15-8DFD-39FECFF1E96A}"/>
          </ac:spMkLst>
        </pc:spChg>
        <pc:spChg chg="mod">
          <ac:chgData name="Jesse Noffsinger" userId="bc07d745-5b3a-4e8f-8554-c306a9634248" providerId="ADAL" clId="{FB32765A-8B8A-4B6E-8BA0-55F32919167A}" dt="2026-01-30T18:45:34.542" v="440" actId="1037"/>
          <ac:spMkLst>
            <pc:docMk/>
            <pc:sldMk cId="1536178990" sldId="2147478876"/>
            <ac:spMk id="159" creationId="{4CFDC4BC-A08F-CC00-4EDD-3E5683144EAE}"/>
          </ac:spMkLst>
        </pc:spChg>
        <pc:spChg chg="mod">
          <ac:chgData name="Jesse Noffsinger" userId="bc07d745-5b3a-4e8f-8554-c306a9634248" providerId="ADAL" clId="{FB32765A-8B8A-4B6E-8BA0-55F32919167A}" dt="2026-01-30T18:50:44.615" v="684" actId="1038"/>
          <ac:spMkLst>
            <pc:docMk/>
            <pc:sldMk cId="1536178990" sldId="2147478876"/>
            <ac:spMk id="176" creationId="{C83AB125-A224-1564-6915-A0760AFB960E}"/>
          </ac:spMkLst>
        </pc:spChg>
        <pc:spChg chg="mod">
          <ac:chgData name="Jesse Noffsinger" userId="bc07d745-5b3a-4e8f-8554-c306a9634248" providerId="ADAL" clId="{FB32765A-8B8A-4B6E-8BA0-55F32919167A}" dt="2026-01-30T18:43:02.231" v="354" actId="1076"/>
          <ac:spMkLst>
            <pc:docMk/>
            <pc:sldMk cId="1536178990" sldId="2147478876"/>
            <ac:spMk id="211" creationId="{092828D5-BD33-7275-17D0-A4C0E8906639}"/>
          </ac:spMkLst>
        </pc:spChg>
        <pc:spChg chg="mod">
          <ac:chgData name="Jesse Noffsinger" userId="bc07d745-5b3a-4e8f-8554-c306a9634248" providerId="ADAL" clId="{FB32765A-8B8A-4B6E-8BA0-55F32919167A}" dt="2026-01-30T18:45:34.542" v="440" actId="1037"/>
          <ac:spMkLst>
            <pc:docMk/>
            <pc:sldMk cId="1536178990" sldId="2147478876"/>
            <ac:spMk id="214" creationId="{19A24914-8B94-9E6E-7255-94E37B1CE957}"/>
          </ac:spMkLst>
        </pc:spChg>
        <pc:spChg chg="mod">
          <ac:chgData name="Jesse Noffsinger" userId="bc07d745-5b3a-4e8f-8554-c306a9634248" providerId="ADAL" clId="{FB32765A-8B8A-4B6E-8BA0-55F32919167A}" dt="2026-01-30T18:45:34.542" v="440" actId="1037"/>
          <ac:spMkLst>
            <pc:docMk/>
            <pc:sldMk cId="1536178990" sldId="2147478876"/>
            <ac:spMk id="217" creationId="{D44139D5-2B7F-6398-ED7A-F2C1C845210E}"/>
          </ac:spMkLst>
        </pc:spChg>
        <pc:spChg chg="mod">
          <ac:chgData name="Jesse Noffsinger" userId="bc07d745-5b3a-4e8f-8554-c306a9634248" providerId="ADAL" clId="{FB32765A-8B8A-4B6E-8BA0-55F32919167A}" dt="2026-01-30T18:45:34.542" v="440" actId="1037"/>
          <ac:spMkLst>
            <pc:docMk/>
            <pc:sldMk cId="1536178990" sldId="2147478876"/>
            <ac:spMk id="218" creationId="{9E31C740-2CEF-E057-00C3-F50D53D1B0D0}"/>
          </ac:spMkLst>
        </pc:spChg>
        <pc:spChg chg="mod">
          <ac:chgData name="Jesse Noffsinger" userId="bc07d745-5b3a-4e8f-8554-c306a9634248" providerId="ADAL" clId="{FB32765A-8B8A-4B6E-8BA0-55F32919167A}" dt="2026-01-30T18:45:34.542" v="440" actId="1037"/>
          <ac:spMkLst>
            <pc:docMk/>
            <pc:sldMk cId="1536178990" sldId="2147478876"/>
            <ac:spMk id="219" creationId="{0FB6AB87-26ED-30AD-A244-1961C499002D}"/>
          </ac:spMkLst>
        </pc:spChg>
        <pc:spChg chg="mod">
          <ac:chgData name="Jesse Noffsinger" userId="bc07d745-5b3a-4e8f-8554-c306a9634248" providerId="ADAL" clId="{FB32765A-8B8A-4B6E-8BA0-55F32919167A}" dt="2026-01-30T18:45:34.542" v="440" actId="1037"/>
          <ac:spMkLst>
            <pc:docMk/>
            <pc:sldMk cId="1536178990" sldId="2147478876"/>
            <ac:spMk id="220" creationId="{347DE79C-2B3A-8D8B-9027-4E7688E3A82B}"/>
          </ac:spMkLst>
        </pc:spChg>
        <pc:spChg chg="mod">
          <ac:chgData name="Jesse Noffsinger" userId="bc07d745-5b3a-4e8f-8554-c306a9634248" providerId="ADAL" clId="{FB32765A-8B8A-4B6E-8BA0-55F32919167A}" dt="2026-01-30T18:45:34.542" v="440" actId="1037"/>
          <ac:spMkLst>
            <pc:docMk/>
            <pc:sldMk cId="1536178990" sldId="2147478876"/>
            <ac:spMk id="221" creationId="{35F7D3A4-B46A-F8A1-078A-818EA4F85433}"/>
          </ac:spMkLst>
        </pc:spChg>
        <pc:spChg chg="mod">
          <ac:chgData name="Jesse Noffsinger" userId="bc07d745-5b3a-4e8f-8554-c306a9634248" providerId="ADAL" clId="{FB32765A-8B8A-4B6E-8BA0-55F32919167A}" dt="2026-01-30T18:43:02.231" v="354" actId="1076"/>
          <ac:spMkLst>
            <pc:docMk/>
            <pc:sldMk cId="1536178990" sldId="2147478876"/>
            <ac:spMk id="222" creationId="{09E7481C-7A76-0AE5-345B-96879F59C029}"/>
          </ac:spMkLst>
        </pc:spChg>
        <pc:spChg chg="mod">
          <ac:chgData name="Jesse Noffsinger" userId="bc07d745-5b3a-4e8f-8554-c306a9634248" providerId="ADAL" clId="{FB32765A-8B8A-4B6E-8BA0-55F32919167A}" dt="2026-01-30T18:45:34.542" v="440" actId="1037"/>
          <ac:spMkLst>
            <pc:docMk/>
            <pc:sldMk cId="1536178990" sldId="2147478876"/>
            <ac:spMk id="223" creationId="{5F7FBC35-EBB0-6304-2DC3-B340793A8EEA}"/>
          </ac:spMkLst>
        </pc:spChg>
        <pc:spChg chg="mod">
          <ac:chgData name="Jesse Noffsinger" userId="bc07d745-5b3a-4e8f-8554-c306a9634248" providerId="ADAL" clId="{FB32765A-8B8A-4B6E-8BA0-55F32919167A}" dt="2026-01-30T18:45:34.542" v="440" actId="1037"/>
          <ac:spMkLst>
            <pc:docMk/>
            <pc:sldMk cId="1536178990" sldId="2147478876"/>
            <ac:spMk id="224" creationId="{4A48EC55-C5E7-E1B7-0711-CFAF838C2107}"/>
          </ac:spMkLst>
        </pc:spChg>
        <pc:spChg chg="mod">
          <ac:chgData name="Jesse Noffsinger" userId="bc07d745-5b3a-4e8f-8554-c306a9634248" providerId="ADAL" clId="{FB32765A-8B8A-4B6E-8BA0-55F32919167A}" dt="2026-01-30T18:43:02.231" v="354" actId="1076"/>
          <ac:spMkLst>
            <pc:docMk/>
            <pc:sldMk cId="1536178990" sldId="2147478876"/>
            <ac:spMk id="226" creationId="{69720636-26BD-1BBA-0C5F-6FC739F5BFDF}"/>
          </ac:spMkLst>
        </pc:spChg>
        <pc:spChg chg="mod">
          <ac:chgData name="Jesse Noffsinger" userId="bc07d745-5b3a-4e8f-8554-c306a9634248" providerId="ADAL" clId="{FB32765A-8B8A-4B6E-8BA0-55F32919167A}" dt="2026-01-30T18:50:44.615" v="684" actId="1038"/>
          <ac:spMkLst>
            <pc:docMk/>
            <pc:sldMk cId="1536178990" sldId="2147478876"/>
            <ac:spMk id="227" creationId="{DE3809EB-173A-3050-4278-043499838F21}"/>
          </ac:spMkLst>
        </pc:spChg>
        <pc:spChg chg="mod">
          <ac:chgData name="Jesse Noffsinger" userId="bc07d745-5b3a-4e8f-8554-c306a9634248" providerId="ADAL" clId="{FB32765A-8B8A-4B6E-8BA0-55F32919167A}" dt="2026-01-30T18:44:12.326" v="383" actId="465"/>
          <ac:spMkLst>
            <pc:docMk/>
            <pc:sldMk cId="1536178990" sldId="2147478876"/>
            <ac:spMk id="228" creationId="{49A7E88F-D84E-EF93-643D-C99FDA5D5336}"/>
          </ac:spMkLst>
        </pc:spChg>
        <pc:spChg chg="del">
          <ac:chgData name="Jesse Noffsinger" userId="bc07d745-5b3a-4e8f-8554-c306a9634248" providerId="ADAL" clId="{FB32765A-8B8A-4B6E-8BA0-55F32919167A}" dt="2026-01-30T18:41:30.556" v="325" actId="478"/>
          <ac:spMkLst>
            <pc:docMk/>
            <pc:sldMk cId="1536178990" sldId="2147478876"/>
            <ac:spMk id="229" creationId="{B8D4ADB3-C69C-B800-8F94-4D137B4CA0D5}"/>
          </ac:spMkLst>
        </pc:spChg>
        <pc:spChg chg="del">
          <ac:chgData name="Jesse Noffsinger" userId="bc07d745-5b3a-4e8f-8554-c306a9634248" providerId="ADAL" clId="{FB32765A-8B8A-4B6E-8BA0-55F32919167A}" dt="2026-01-30T18:41:30.556" v="325" actId="478"/>
          <ac:spMkLst>
            <pc:docMk/>
            <pc:sldMk cId="1536178990" sldId="2147478876"/>
            <ac:spMk id="230" creationId="{70477FA4-FE7D-3416-816E-6CB706740F3C}"/>
          </ac:spMkLst>
        </pc:spChg>
        <pc:spChg chg="del">
          <ac:chgData name="Jesse Noffsinger" userId="bc07d745-5b3a-4e8f-8554-c306a9634248" providerId="ADAL" clId="{FB32765A-8B8A-4B6E-8BA0-55F32919167A}" dt="2026-01-30T18:41:30.556" v="325" actId="478"/>
          <ac:spMkLst>
            <pc:docMk/>
            <pc:sldMk cId="1536178990" sldId="2147478876"/>
            <ac:spMk id="231" creationId="{43AC824D-4332-0998-331A-07D1F267CD65}"/>
          </ac:spMkLst>
        </pc:spChg>
        <pc:spChg chg="del">
          <ac:chgData name="Jesse Noffsinger" userId="bc07d745-5b3a-4e8f-8554-c306a9634248" providerId="ADAL" clId="{FB32765A-8B8A-4B6E-8BA0-55F32919167A}" dt="2026-01-30T18:41:30.556" v="325" actId="478"/>
          <ac:spMkLst>
            <pc:docMk/>
            <pc:sldMk cId="1536178990" sldId="2147478876"/>
            <ac:spMk id="232" creationId="{D90D7ECD-C335-7704-05BE-1C2A348CB9C1}"/>
          </ac:spMkLst>
        </pc:spChg>
        <pc:spChg chg="del">
          <ac:chgData name="Jesse Noffsinger" userId="bc07d745-5b3a-4e8f-8554-c306a9634248" providerId="ADAL" clId="{FB32765A-8B8A-4B6E-8BA0-55F32919167A}" dt="2026-01-30T18:42:33.619" v="349" actId="478"/>
          <ac:spMkLst>
            <pc:docMk/>
            <pc:sldMk cId="1536178990" sldId="2147478876"/>
            <ac:spMk id="233" creationId="{78749087-22D4-DF00-7755-80DF5C6C3BC0}"/>
          </ac:spMkLst>
        </pc:spChg>
        <pc:spChg chg="mod">
          <ac:chgData name="Jesse Noffsinger" userId="bc07d745-5b3a-4e8f-8554-c306a9634248" providerId="ADAL" clId="{FB32765A-8B8A-4B6E-8BA0-55F32919167A}" dt="2026-01-30T18:50:44.615" v="684" actId="1038"/>
          <ac:spMkLst>
            <pc:docMk/>
            <pc:sldMk cId="1536178990" sldId="2147478876"/>
            <ac:spMk id="234" creationId="{DDE88DEE-B1FC-94AE-71A9-1F032703BFDE}"/>
          </ac:spMkLst>
        </pc:spChg>
        <pc:spChg chg="del">
          <ac:chgData name="Jesse Noffsinger" userId="bc07d745-5b3a-4e8f-8554-c306a9634248" providerId="ADAL" clId="{FB32765A-8B8A-4B6E-8BA0-55F32919167A}" dt="2026-01-30T18:42:33.619" v="349" actId="478"/>
          <ac:spMkLst>
            <pc:docMk/>
            <pc:sldMk cId="1536178990" sldId="2147478876"/>
            <ac:spMk id="235" creationId="{EA9E8AB0-6EAD-C316-B6FA-66ADEFB2F3A8}"/>
          </ac:spMkLst>
        </pc:spChg>
        <pc:spChg chg="del">
          <ac:chgData name="Jesse Noffsinger" userId="bc07d745-5b3a-4e8f-8554-c306a9634248" providerId="ADAL" clId="{FB32765A-8B8A-4B6E-8BA0-55F32919167A}" dt="2026-01-30T18:42:33.619" v="349" actId="478"/>
          <ac:spMkLst>
            <pc:docMk/>
            <pc:sldMk cId="1536178990" sldId="2147478876"/>
            <ac:spMk id="236" creationId="{6EE49598-2F6C-F0C8-52E4-51C9DA0630D7}"/>
          </ac:spMkLst>
        </pc:spChg>
        <pc:spChg chg="mod">
          <ac:chgData name="Jesse Noffsinger" userId="bc07d745-5b3a-4e8f-8554-c306a9634248" providerId="ADAL" clId="{FB32765A-8B8A-4B6E-8BA0-55F32919167A}" dt="2026-01-30T18:44:12.326" v="383" actId="465"/>
          <ac:spMkLst>
            <pc:docMk/>
            <pc:sldMk cId="1536178990" sldId="2147478876"/>
            <ac:spMk id="237" creationId="{3629E2CF-82CD-5631-C439-43F43D0D7823}"/>
          </ac:spMkLst>
        </pc:spChg>
        <pc:spChg chg="del">
          <ac:chgData name="Jesse Noffsinger" userId="bc07d745-5b3a-4e8f-8554-c306a9634248" providerId="ADAL" clId="{FB32765A-8B8A-4B6E-8BA0-55F32919167A}" dt="2026-01-30T18:41:30.556" v="325" actId="478"/>
          <ac:spMkLst>
            <pc:docMk/>
            <pc:sldMk cId="1536178990" sldId="2147478876"/>
            <ac:spMk id="238" creationId="{223BBDBF-78A1-3774-469B-39A842EE2040}"/>
          </ac:spMkLst>
        </pc:spChg>
        <pc:spChg chg="del">
          <ac:chgData name="Jesse Noffsinger" userId="bc07d745-5b3a-4e8f-8554-c306a9634248" providerId="ADAL" clId="{FB32765A-8B8A-4B6E-8BA0-55F32919167A}" dt="2026-01-30T18:41:30.556" v="325" actId="478"/>
          <ac:spMkLst>
            <pc:docMk/>
            <pc:sldMk cId="1536178990" sldId="2147478876"/>
            <ac:spMk id="239" creationId="{E264F5C1-CF33-C2FD-0663-E46AC710B308}"/>
          </ac:spMkLst>
        </pc:spChg>
        <pc:spChg chg="del">
          <ac:chgData name="Jesse Noffsinger" userId="bc07d745-5b3a-4e8f-8554-c306a9634248" providerId="ADAL" clId="{FB32765A-8B8A-4B6E-8BA0-55F32919167A}" dt="2026-01-30T18:41:30.556" v="325" actId="478"/>
          <ac:spMkLst>
            <pc:docMk/>
            <pc:sldMk cId="1536178990" sldId="2147478876"/>
            <ac:spMk id="240" creationId="{0B1DC500-9849-1581-E283-8811809C9D94}"/>
          </ac:spMkLst>
        </pc:spChg>
        <pc:spChg chg="del">
          <ac:chgData name="Jesse Noffsinger" userId="bc07d745-5b3a-4e8f-8554-c306a9634248" providerId="ADAL" clId="{FB32765A-8B8A-4B6E-8BA0-55F32919167A}" dt="2026-01-30T18:39:52.250" v="318" actId="478"/>
          <ac:spMkLst>
            <pc:docMk/>
            <pc:sldMk cId="1536178990" sldId="2147478876"/>
            <ac:spMk id="242" creationId="{0990B5D8-B19B-5031-649E-AE56918828F8}"/>
          </ac:spMkLst>
        </pc:spChg>
        <pc:spChg chg="del">
          <ac:chgData name="Jesse Noffsinger" userId="bc07d745-5b3a-4e8f-8554-c306a9634248" providerId="ADAL" clId="{FB32765A-8B8A-4B6E-8BA0-55F32919167A}" dt="2026-01-30T18:39:52.250" v="318" actId="478"/>
          <ac:spMkLst>
            <pc:docMk/>
            <pc:sldMk cId="1536178990" sldId="2147478876"/>
            <ac:spMk id="243" creationId="{884DF88E-62FB-AB18-0828-5F7F6270F484}"/>
          </ac:spMkLst>
        </pc:spChg>
        <pc:spChg chg="del">
          <ac:chgData name="Jesse Noffsinger" userId="bc07d745-5b3a-4e8f-8554-c306a9634248" providerId="ADAL" clId="{FB32765A-8B8A-4B6E-8BA0-55F32919167A}" dt="2026-01-30T18:39:52.250" v="318" actId="478"/>
          <ac:spMkLst>
            <pc:docMk/>
            <pc:sldMk cId="1536178990" sldId="2147478876"/>
            <ac:spMk id="244" creationId="{4B8FF3D3-66E1-76B8-698C-4DC27A10E1AC}"/>
          </ac:spMkLst>
        </pc:spChg>
        <pc:spChg chg="del">
          <ac:chgData name="Jesse Noffsinger" userId="bc07d745-5b3a-4e8f-8554-c306a9634248" providerId="ADAL" clId="{FB32765A-8B8A-4B6E-8BA0-55F32919167A}" dt="2026-01-30T18:39:52.250" v="318" actId="478"/>
          <ac:spMkLst>
            <pc:docMk/>
            <pc:sldMk cId="1536178990" sldId="2147478876"/>
            <ac:spMk id="245" creationId="{B99AC172-6756-46C2-053C-5326F0883A04}"/>
          </ac:spMkLst>
        </pc:spChg>
        <pc:spChg chg="del">
          <ac:chgData name="Jesse Noffsinger" userId="bc07d745-5b3a-4e8f-8554-c306a9634248" providerId="ADAL" clId="{FB32765A-8B8A-4B6E-8BA0-55F32919167A}" dt="2026-01-30T18:39:52.250" v="318" actId="478"/>
          <ac:spMkLst>
            <pc:docMk/>
            <pc:sldMk cId="1536178990" sldId="2147478876"/>
            <ac:spMk id="246" creationId="{72797D40-CF74-DFD7-8D5B-B67D3E75C0EC}"/>
          </ac:spMkLst>
        </pc:spChg>
        <pc:spChg chg="del">
          <ac:chgData name="Jesse Noffsinger" userId="bc07d745-5b3a-4e8f-8554-c306a9634248" providerId="ADAL" clId="{FB32765A-8B8A-4B6E-8BA0-55F32919167A}" dt="2026-01-30T18:39:52.250" v="318" actId="478"/>
          <ac:spMkLst>
            <pc:docMk/>
            <pc:sldMk cId="1536178990" sldId="2147478876"/>
            <ac:spMk id="247" creationId="{9FFF4CEC-FE55-90DE-CAFA-A2168DDD70EA}"/>
          </ac:spMkLst>
        </pc:spChg>
        <pc:spChg chg="del">
          <ac:chgData name="Jesse Noffsinger" userId="bc07d745-5b3a-4e8f-8554-c306a9634248" providerId="ADAL" clId="{FB32765A-8B8A-4B6E-8BA0-55F32919167A}" dt="2026-01-30T18:39:52.250" v="318" actId="478"/>
          <ac:spMkLst>
            <pc:docMk/>
            <pc:sldMk cId="1536178990" sldId="2147478876"/>
            <ac:spMk id="249" creationId="{856DD2DE-C65C-7044-65EB-3689CAB7C604}"/>
          </ac:spMkLst>
        </pc:spChg>
        <pc:spChg chg="del">
          <ac:chgData name="Jesse Noffsinger" userId="bc07d745-5b3a-4e8f-8554-c306a9634248" providerId="ADAL" clId="{FB32765A-8B8A-4B6E-8BA0-55F32919167A}" dt="2026-01-30T18:39:52.250" v="318" actId="478"/>
          <ac:spMkLst>
            <pc:docMk/>
            <pc:sldMk cId="1536178990" sldId="2147478876"/>
            <ac:spMk id="250" creationId="{3FE82222-1A6D-0B29-9E45-A539876EC671}"/>
          </ac:spMkLst>
        </pc:spChg>
        <pc:spChg chg="del">
          <ac:chgData name="Jesse Noffsinger" userId="bc07d745-5b3a-4e8f-8554-c306a9634248" providerId="ADAL" clId="{FB32765A-8B8A-4B6E-8BA0-55F32919167A}" dt="2026-01-30T18:39:52.250" v="318" actId="478"/>
          <ac:spMkLst>
            <pc:docMk/>
            <pc:sldMk cId="1536178990" sldId="2147478876"/>
            <ac:spMk id="254" creationId="{9D3D3193-8495-C4E4-528C-71824C5AAA3F}"/>
          </ac:spMkLst>
        </pc:spChg>
        <pc:spChg chg="del">
          <ac:chgData name="Jesse Noffsinger" userId="bc07d745-5b3a-4e8f-8554-c306a9634248" providerId="ADAL" clId="{FB32765A-8B8A-4B6E-8BA0-55F32919167A}" dt="2026-01-30T18:39:52.250" v="318" actId="478"/>
          <ac:spMkLst>
            <pc:docMk/>
            <pc:sldMk cId="1536178990" sldId="2147478876"/>
            <ac:spMk id="255" creationId="{4D13BD0A-C47A-2921-0C8B-380516FF79F1}"/>
          </ac:spMkLst>
        </pc:spChg>
        <pc:spChg chg="mod">
          <ac:chgData name="Jesse Noffsinger" userId="bc07d745-5b3a-4e8f-8554-c306a9634248" providerId="ADAL" clId="{FB32765A-8B8A-4B6E-8BA0-55F32919167A}" dt="2026-01-30T18:48:55.280" v="560" actId="948"/>
          <ac:spMkLst>
            <pc:docMk/>
            <pc:sldMk cId="1536178990" sldId="2147478876"/>
            <ac:spMk id="273" creationId="{E43F317E-DBCE-2C63-A14A-AD42F3759FB1}"/>
          </ac:spMkLst>
        </pc:spChg>
        <pc:grpChg chg="add mod">
          <ac:chgData name="Jesse Noffsinger" userId="bc07d745-5b3a-4e8f-8554-c306a9634248" providerId="ADAL" clId="{FB32765A-8B8A-4B6E-8BA0-55F32919167A}" dt="2026-01-30T18:50:19.405" v="675" actId="14100"/>
          <ac:grpSpMkLst>
            <pc:docMk/>
            <pc:sldMk cId="1536178990" sldId="2147478876"/>
            <ac:grpSpMk id="129" creationId="{2A7349DC-B3D4-3766-6C2D-D9B2364221DA}"/>
          </ac:grpSpMkLst>
        </pc:grpChg>
        <pc:grpChg chg="add mod">
          <ac:chgData name="Jesse Noffsinger" userId="bc07d745-5b3a-4e8f-8554-c306a9634248" providerId="ADAL" clId="{FB32765A-8B8A-4B6E-8BA0-55F32919167A}" dt="2026-01-30T18:50:09.855" v="674" actId="14100"/>
          <ac:grpSpMkLst>
            <pc:docMk/>
            <pc:sldMk cId="1536178990" sldId="2147478876"/>
            <ac:grpSpMk id="145" creationId="{86424AD6-000D-CAE2-13A5-6B0A5FD62232}"/>
          </ac:grpSpMkLst>
        </pc:grpChg>
        <pc:graphicFrameChg chg="mod">
          <ac:chgData name="Jesse Noffsinger" userId="bc07d745-5b3a-4e8f-8554-c306a9634248" providerId="ADAL" clId="{FB32765A-8B8A-4B6E-8BA0-55F32919167A}" dt="2026-01-30T18:48:55.319" v="584"/>
          <ac:graphicFrameMkLst>
            <pc:docMk/>
            <pc:sldMk cId="1536178990" sldId="2147478876"/>
            <ac:graphicFrameMk id="212" creationId="{9CF17DFA-9EC8-3699-756C-817C4615F9E2}"/>
          </ac:graphicFrameMkLst>
        </pc:graphicFrameChg>
        <pc:cxnChg chg="mod">
          <ac:chgData name="Jesse Noffsinger" userId="bc07d745-5b3a-4e8f-8554-c306a9634248" providerId="ADAL" clId="{FB32765A-8B8A-4B6E-8BA0-55F32919167A}" dt="2026-01-30T18:49:56.950" v="650"/>
          <ac:cxnSpMkLst>
            <pc:docMk/>
            <pc:sldMk cId="1536178990" sldId="2147478876"/>
            <ac:cxnSpMk id="131" creationId="{B58BFDB5-517F-3167-D270-DF255AF1728F}"/>
          </ac:cxnSpMkLst>
        </pc:cxnChg>
        <pc:cxnChg chg="mod">
          <ac:chgData name="Jesse Noffsinger" userId="bc07d745-5b3a-4e8f-8554-c306a9634248" providerId="ADAL" clId="{FB32765A-8B8A-4B6E-8BA0-55F32919167A}" dt="2026-01-30T18:49:56.950" v="650"/>
          <ac:cxnSpMkLst>
            <pc:docMk/>
            <pc:sldMk cId="1536178990" sldId="2147478876"/>
            <ac:cxnSpMk id="132" creationId="{41D7BD01-DA39-8ADE-A7E3-BD103CF587AC}"/>
          </ac:cxnSpMkLst>
        </pc:cxnChg>
        <pc:cxnChg chg="mod">
          <ac:chgData name="Jesse Noffsinger" userId="bc07d745-5b3a-4e8f-8554-c306a9634248" providerId="ADAL" clId="{FB32765A-8B8A-4B6E-8BA0-55F32919167A}" dt="2026-01-30T18:49:56.950" v="650"/>
          <ac:cxnSpMkLst>
            <pc:docMk/>
            <pc:sldMk cId="1536178990" sldId="2147478876"/>
            <ac:cxnSpMk id="133" creationId="{714D517A-A566-7C90-C2DE-82E1FD72C59B}"/>
          </ac:cxnSpMkLst>
        </pc:cxnChg>
        <pc:cxnChg chg="mod">
          <ac:chgData name="Jesse Noffsinger" userId="bc07d745-5b3a-4e8f-8554-c306a9634248" providerId="ADAL" clId="{FB32765A-8B8A-4B6E-8BA0-55F32919167A}" dt="2026-01-30T18:49:56.950" v="650"/>
          <ac:cxnSpMkLst>
            <pc:docMk/>
            <pc:sldMk cId="1536178990" sldId="2147478876"/>
            <ac:cxnSpMk id="135" creationId="{FE40289C-6B45-3446-A564-778F35E886D8}"/>
          </ac:cxnSpMkLst>
        </pc:cxnChg>
        <pc:cxnChg chg="mod">
          <ac:chgData name="Jesse Noffsinger" userId="bc07d745-5b3a-4e8f-8554-c306a9634248" providerId="ADAL" clId="{FB32765A-8B8A-4B6E-8BA0-55F32919167A}" dt="2026-01-30T18:49:56.950" v="650"/>
          <ac:cxnSpMkLst>
            <pc:docMk/>
            <pc:sldMk cId="1536178990" sldId="2147478876"/>
            <ac:cxnSpMk id="136" creationId="{46D752E7-6B5E-2E6C-41D5-A7289904376A}"/>
          </ac:cxnSpMkLst>
        </pc:cxnChg>
        <pc:cxnChg chg="mod">
          <ac:chgData name="Jesse Noffsinger" userId="bc07d745-5b3a-4e8f-8554-c306a9634248" providerId="ADAL" clId="{FB32765A-8B8A-4B6E-8BA0-55F32919167A}" dt="2026-01-30T18:49:56.950" v="650"/>
          <ac:cxnSpMkLst>
            <pc:docMk/>
            <pc:sldMk cId="1536178990" sldId="2147478876"/>
            <ac:cxnSpMk id="138" creationId="{91AA1B6F-332E-A42B-29B7-362B6B4D94EA}"/>
          </ac:cxnSpMkLst>
        </pc:cxnChg>
        <pc:cxnChg chg="mod">
          <ac:chgData name="Jesse Noffsinger" userId="bc07d745-5b3a-4e8f-8554-c306a9634248" providerId="ADAL" clId="{FB32765A-8B8A-4B6E-8BA0-55F32919167A}" dt="2026-01-30T18:49:56.950" v="650"/>
          <ac:cxnSpMkLst>
            <pc:docMk/>
            <pc:sldMk cId="1536178990" sldId="2147478876"/>
            <ac:cxnSpMk id="139" creationId="{22A6739C-C7C8-A6B1-440A-0A42515B6CF8}"/>
          </ac:cxnSpMkLst>
        </pc:cxnChg>
        <pc:cxnChg chg="mod">
          <ac:chgData name="Jesse Noffsinger" userId="bc07d745-5b3a-4e8f-8554-c306a9634248" providerId="ADAL" clId="{FB32765A-8B8A-4B6E-8BA0-55F32919167A}" dt="2026-01-30T18:49:56.950" v="650"/>
          <ac:cxnSpMkLst>
            <pc:docMk/>
            <pc:sldMk cId="1536178990" sldId="2147478876"/>
            <ac:cxnSpMk id="141" creationId="{3FA2A897-7BE8-53F4-53AF-FD90804011C2}"/>
          </ac:cxnSpMkLst>
        </pc:cxnChg>
        <pc:cxnChg chg="mod">
          <ac:chgData name="Jesse Noffsinger" userId="bc07d745-5b3a-4e8f-8554-c306a9634248" providerId="ADAL" clId="{FB32765A-8B8A-4B6E-8BA0-55F32919167A}" dt="2026-01-30T18:49:56.950" v="650"/>
          <ac:cxnSpMkLst>
            <pc:docMk/>
            <pc:sldMk cId="1536178990" sldId="2147478876"/>
            <ac:cxnSpMk id="142" creationId="{A31C4AC2-7209-31A1-90D2-43715CD70F10}"/>
          </ac:cxnSpMkLst>
        </pc:cxnChg>
        <pc:cxnChg chg="mod">
          <ac:chgData name="Jesse Noffsinger" userId="bc07d745-5b3a-4e8f-8554-c306a9634248" providerId="ADAL" clId="{FB32765A-8B8A-4B6E-8BA0-55F32919167A}" dt="2026-01-30T18:50:07.147" v="673" actId="571"/>
          <ac:cxnSpMkLst>
            <pc:docMk/>
            <pc:sldMk cId="1536178990" sldId="2147478876"/>
            <ac:cxnSpMk id="146" creationId="{680111B8-AB33-0A6E-3EB3-92CC31A2CE57}"/>
          </ac:cxnSpMkLst>
        </pc:cxnChg>
        <pc:cxnChg chg="mod">
          <ac:chgData name="Jesse Noffsinger" userId="bc07d745-5b3a-4e8f-8554-c306a9634248" providerId="ADAL" clId="{FB32765A-8B8A-4B6E-8BA0-55F32919167A}" dt="2026-01-30T18:50:07.147" v="673" actId="571"/>
          <ac:cxnSpMkLst>
            <pc:docMk/>
            <pc:sldMk cId="1536178990" sldId="2147478876"/>
            <ac:cxnSpMk id="147" creationId="{9DA8683B-9980-EDDF-325D-BE36C361A571}"/>
          </ac:cxnSpMkLst>
        </pc:cxnChg>
        <pc:cxnChg chg="mod">
          <ac:chgData name="Jesse Noffsinger" userId="bc07d745-5b3a-4e8f-8554-c306a9634248" providerId="ADAL" clId="{FB32765A-8B8A-4B6E-8BA0-55F32919167A}" dt="2026-01-30T18:50:07.147" v="673" actId="571"/>
          <ac:cxnSpMkLst>
            <pc:docMk/>
            <pc:sldMk cId="1536178990" sldId="2147478876"/>
            <ac:cxnSpMk id="150" creationId="{195EF2FE-B022-765C-0E82-45A106A16AF3}"/>
          </ac:cxnSpMkLst>
        </pc:cxnChg>
        <pc:cxnChg chg="mod">
          <ac:chgData name="Jesse Noffsinger" userId="bc07d745-5b3a-4e8f-8554-c306a9634248" providerId="ADAL" clId="{FB32765A-8B8A-4B6E-8BA0-55F32919167A}" dt="2026-01-30T18:50:07.147" v="673" actId="571"/>
          <ac:cxnSpMkLst>
            <pc:docMk/>
            <pc:sldMk cId="1536178990" sldId="2147478876"/>
            <ac:cxnSpMk id="152" creationId="{E5F69491-3E82-A20B-2DBB-2E300B9369DA}"/>
          </ac:cxnSpMkLst>
        </pc:cxnChg>
        <pc:cxnChg chg="mod">
          <ac:chgData name="Jesse Noffsinger" userId="bc07d745-5b3a-4e8f-8554-c306a9634248" providerId="ADAL" clId="{FB32765A-8B8A-4B6E-8BA0-55F32919167A}" dt="2026-01-30T18:50:07.147" v="673" actId="571"/>
          <ac:cxnSpMkLst>
            <pc:docMk/>
            <pc:sldMk cId="1536178990" sldId="2147478876"/>
            <ac:cxnSpMk id="156" creationId="{56B4BA86-0473-AE13-A609-02A0D1B3B191}"/>
          </ac:cxnSpMkLst>
        </pc:cxnChg>
        <pc:cxnChg chg="mod">
          <ac:chgData name="Jesse Noffsinger" userId="bc07d745-5b3a-4e8f-8554-c306a9634248" providerId="ADAL" clId="{FB32765A-8B8A-4B6E-8BA0-55F32919167A}" dt="2026-01-30T18:50:07.147" v="673" actId="571"/>
          <ac:cxnSpMkLst>
            <pc:docMk/>
            <pc:sldMk cId="1536178990" sldId="2147478876"/>
            <ac:cxnSpMk id="157" creationId="{52A01505-8441-B5D6-210D-D88E743F0277}"/>
          </ac:cxnSpMkLst>
        </pc:cxnChg>
        <pc:cxnChg chg="mod">
          <ac:chgData name="Jesse Noffsinger" userId="bc07d745-5b3a-4e8f-8554-c306a9634248" providerId="ADAL" clId="{FB32765A-8B8A-4B6E-8BA0-55F32919167A}" dt="2026-01-30T18:50:07.147" v="673" actId="571"/>
          <ac:cxnSpMkLst>
            <pc:docMk/>
            <pc:sldMk cId="1536178990" sldId="2147478876"/>
            <ac:cxnSpMk id="158" creationId="{DEEAA58E-7D30-4623-BA96-8582598314BF}"/>
          </ac:cxnSpMkLst>
        </pc:cxnChg>
        <pc:cxnChg chg="mod">
          <ac:chgData name="Jesse Noffsinger" userId="bc07d745-5b3a-4e8f-8554-c306a9634248" providerId="ADAL" clId="{FB32765A-8B8A-4B6E-8BA0-55F32919167A}" dt="2026-01-30T18:50:07.147" v="673" actId="571"/>
          <ac:cxnSpMkLst>
            <pc:docMk/>
            <pc:sldMk cId="1536178990" sldId="2147478876"/>
            <ac:cxnSpMk id="160" creationId="{595359B9-8551-D28A-B253-2AEC442C01A7}"/>
          </ac:cxnSpMkLst>
        </pc:cxnChg>
        <pc:cxnChg chg="mod">
          <ac:chgData name="Jesse Noffsinger" userId="bc07d745-5b3a-4e8f-8554-c306a9634248" providerId="ADAL" clId="{FB32765A-8B8A-4B6E-8BA0-55F32919167A}" dt="2026-01-30T18:50:07.147" v="673" actId="571"/>
          <ac:cxnSpMkLst>
            <pc:docMk/>
            <pc:sldMk cId="1536178990" sldId="2147478876"/>
            <ac:cxnSpMk id="161" creationId="{599C8F61-D281-E778-1DF3-3CFCEB17A0EB}"/>
          </ac:cxnSpMkLst>
        </pc:cxnChg>
        <pc:cxnChg chg="del">
          <ac:chgData name="Jesse Noffsinger" userId="bc07d745-5b3a-4e8f-8554-c306a9634248" providerId="ADAL" clId="{FB32765A-8B8A-4B6E-8BA0-55F32919167A}" dt="2026-01-30T18:49:56.611" v="649" actId="478"/>
          <ac:cxnSpMkLst>
            <pc:docMk/>
            <pc:sldMk cId="1536178990" sldId="2147478876"/>
            <ac:cxnSpMk id="257" creationId="{BE645CE6-1008-AA7C-7798-D9FDCDB62B3F}"/>
          </ac:cxnSpMkLst>
        </pc:cxnChg>
        <pc:cxnChg chg="del">
          <ac:chgData name="Jesse Noffsinger" userId="bc07d745-5b3a-4e8f-8554-c306a9634248" providerId="ADAL" clId="{FB32765A-8B8A-4B6E-8BA0-55F32919167A}" dt="2026-01-30T18:49:56.611" v="649" actId="478"/>
          <ac:cxnSpMkLst>
            <pc:docMk/>
            <pc:sldMk cId="1536178990" sldId="2147478876"/>
            <ac:cxnSpMk id="258" creationId="{3CEDD7FF-C30A-8EDD-BE36-214829C86344}"/>
          </ac:cxnSpMkLst>
        </pc:cxnChg>
        <pc:cxnChg chg="del">
          <ac:chgData name="Jesse Noffsinger" userId="bc07d745-5b3a-4e8f-8554-c306a9634248" providerId="ADAL" clId="{FB32765A-8B8A-4B6E-8BA0-55F32919167A}" dt="2026-01-30T18:49:56.611" v="649" actId="478"/>
          <ac:cxnSpMkLst>
            <pc:docMk/>
            <pc:sldMk cId="1536178990" sldId="2147478876"/>
            <ac:cxnSpMk id="259" creationId="{F8FDC350-DDD9-3969-0249-8B01A84E03DB}"/>
          </ac:cxnSpMkLst>
        </pc:cxnChg>
        <pc:cxnChg chg="del">
          <ac:chgData name="Jesse Noffsinger" userId="bc07d745-5b3a-4e8f-8554-c306a9634248" providerId="ADAL" clId="{FB32765A-8B8A-4B6E-8BA0-55F32919167A}" dt="2026-01-30T18:49:56.611" v="649" actId="478"/>
          <ac:cxnSpMkLst>
            <pc:docMk/>
            <pc:sldMk cId="1536178990" sldId="2147478876"/>
            <ac:cxnSpMk id="261" creationId="{A93DAF21-4808-9FA7-D830-DA86D81A2F45}"/>
          </ac:cxnSpMkLst>
        </pc:cxnChg>
        <pc:cxnChg chg="del">
          <ac:chgData name="Jesse Noffsinger" userId="bc07d745-5b3a-4e8f-8554-c306a9634248" providerId="ADAL" clId="{FB32765A-8B8A-4B6E-8BA0-55F32919167A}" dt="2026-01-30T18:49:56.611" v="649" actId="478"/>
          <ac:cxnSpMkLst>
            <pc:docMk/>
            <pc:sldMk cId="1536178990" sldId="2147478876"/>
            <ac:cxnSpMk id="262" creationId="{2A5FAC62-6961-7C57-1ED2-DBD76BCF4848}"/>
          </ac:cxnSpMkLst>
        </pc:cxnChg>
        <pc:cxnChg chg="del">
          <ac:chgData name="Jesse Noffsinger" userId="bc07d745-5b3a-4e8f-8554-c306a9634248" providerId="ADAL" clId="{FB32765A-8B8A-4B6E-8BA0-55F32919167A}" dt="2026-01-30T18:49:56.611" v="649" actId="478"/>
          <ac:cxnSpMkLst>
            <pc:docMk/>
            <pc:sldMk cId="1536178990" sldId="2147478876"/>
            <ac:cxnSpMk id="263" creationId="{A87CC5E1-BA64-647F-253F-47D6687C2FF2}"/>
          </ac:cxnSpMkLst>
        </pc:cxnChg>
        <pc:cxnChg chg="del">
          <ac:chgData name="Jesse Noffsinger" userId="bc07d745-5b3a-4e8f-8554-c306a9634248" providerId="ADAL" clId="{FB32765A-8B8A-4B6E-8BA0-55F32919167A}" dt="2026-01-30T18:49:56.611" v="649" actId="478"/>
          <ac:cxnSpMkLst>
            <pc:docMk/>
            <pc:sldMk cId="1536178990" sldId="2147478876"/>
            <ac:cxnSpMk id="264" creationId="{E7B535BD-2A70-4F9F-46A6-05B692DF761D}"/>
          </ac:cxnSpMkLst>
        </pc:cxnChg>
        <pc:cxnChg chg="del">
          <ac:chgData name="Jesse Noffsinger" userId="bc07d745-5b3a-4e8f-8554-c306a9634248" providerId="ADAL" clId="{FB32765A-8B8A-4B6E-8BA0-55F32919167A}" dt="2026-01-30T18:49:56.611" v="649" actId="478"/>
          <ac:cxnSpMkLst>
            <pc:docMk/>
            <pc:sldMk cId="1536178990" sldId="2147478876"/>
            <ac:cxnSpMk id="265" creationId="{BBEDF86A-34DD-9948-19FB-6F2BF6FDDBB7}"/>
          </ac:cxnSpMkLst>
        </pc:cxnChg>
        <pc:cxnChg chg="del">
          <ac:chgData name="Jesse Noffsinger" userId="bc07d745-5b3a-4e8f-8554-c306a9634248" providerId="ADAL" clId="{FB32765A-8B8A-4B6E-8BA0-55F32919167A}" dt="2026-01-30T18:49:56.611" v="649" actId="478"/>
          <ac:cxnSpMkLst>
            <pc:docMk/>
            <pc:sldMk cId="1536178990" sldId="2147478876"/>
            <ac:cxnSpMk id="268" creationId="{FFB8CDA2-F797-AF3B-091D-FEDF0B4C790A}"/>
          </ac:cxnSpMkLst>
        </pc:cxnChg>
        <pc:cxnChg chg="del">
          <ac:chgData name="Jesse Noffsinger" userId="bc07d745-5b3a-4e8f-8554-c306a9634248" providerId="ADAL" clId="{FB32765A-8B8A-4B6E-8BA0-55F32919167A}" dt="2026-01-30T18:49:56.611" v="649" actId="478"/>
          <ac:cxnSpMkLst>
            <pc:docMk/>
            <pc:sldMk cId="1536178990" sldId="2147478876"/>
            <ac:cxnSpMk id="269" creationId="{6894998B-ECBD-0FB5-782B-221171F70023}"/>
          </ac:cxnSpMkLst>
        </pc:cxnChg>
      </pc:sldChg>
      <pc:sldChg chg="addSp modSp new mod">
        <pc:chgData name="Jesse Noffsinger" userId="bc07d745-5b3a-4e8f-8554-c306a9634248" providerId="ADAL" clId="{FB32765A-8B8A-4B6E-8BA0-55F32919167A}" dt="2026-01-30T18:39:39.721" v="315"/>
        <pc:sldMkLst>
          <pc:docMk/>
          <pc:sldMk cId="3316813963" sldId="2147478877"/>
        </pc:sldMkLst>
        <pc:spChg chg="mod">
          <ac:chgData name="Jesse Noffsinger" userId="bc07d745-5b3a-4e8f-8554-c306a9634248" providerId="ADAL" clId="{FB32765A-8B8A-4B6E-8BA0-55F32919167A}" dt="2026-01-30T18:39:36.726" v="295"/>
          <ac:spMkLst>
            <pc:docMk/>
            <pc:sldMk cId="3316813963" sldId="2147478877"/>
            <ac:spMk id="2" creationId="{7444D15A-DFA3-5137-F089-5B86330BB2FE}"/>
          </ac:spMkLst>
        </pc:spChg>
        <pc:spChg chg="mod">
          <ac:chgData name="Jesse Noffsinger" userId="bc07d745-5b3a-4e8f-8554-c306a9634248" providerId="ADAL" clId="{FB32765A-8B8A-4B6E-8BA0-55F32919167A}" dt="2026-01-30T18:39:36.728" v="296"/>
          <ac:spMkLst>
            <pc:docMk/>
            <pc:sldMk cId="3316813963" sldId="2147478877"/>
            <ac:spMk id="3" creationId="{E3FF07E8-0AF6-1926-46B7-2FBCF9578690}"/>
          </ac:spMkLst>
        </pc:spChg>
        <pc:spChg chg="mod">
          <ac:chgData name="Jesse Noffsinger" userId="bc07d745-5b3a-4e8f-8554-c306a9634248" providerId="ADAL" clId="{FB32765A-8B8A-4B6E-8BA0-55F32919167A}" dt="2026-01-30T18:39:39.665" v="301" actId="948"/>
          <ac:spMkLst>
            <pc:docMk/>
            <pc:sldMk cId="3316813963" sldId="2147478877"/>
            <ac:spMk id="4" creationId="{4C221070-5099-D734-CD06-B2C60C242CA9}"/>
          </ac:spMkLst>
        </pc:spChg>
        <pc:graphicFrameChg chg="add mod ord modVis">
          <ac:chgData name="Jesse Noffsinger" userId="bc07d745-5b3a-4e8f-8554-c306a9634248" providerId="ADAL" clId="{FB32765A-8B8A-4B6E-8BA0-55F32919167A}" dt="2026-01-30T18:39:39.721" v="315"/>
          <ac:graphicFrameMkLst>
            <pc:docMk/>
            <pc:sldMk cId="3316813963" sldId="2147478877"/>
            <ac:graphicFrameMk id="5" creationId="{B04DE590-0C33-BDBC-AF22-BD7966199EF0}"/>
          </ac:graphicFrameMkLst>
        </pc:graphicFrameChg>
      </pc:sldChg>
      <pc:sldChg chg="add ord">
        <pc:chgData name="Jesse Noffsinger" userId="bc07d745-5b3a-4e8f-8554-c306a9634248" providerId="ADAL" clId="{FB32765A-8B8A-4B6E-8BA0-55F32919167A}" dt="2026-01-30T19:13:37.260" v="711"/>
        <pc:sldMkLst>
          <pc:docMk/>
          <pc:sldMk cId="3430908055" sldId="2147478878"/>
        </pc:sldMkLst>
      </pc:sldChg>
      <pc:sldChg chg="add ord">
        <pc:chgData name="Jesse Noffsinger" userId="bc07d745-5b3a-4e8f-8554-c306a9634248" providerId="ADAL" clId="{FB32765A-8B8A-4B6E-8BA0-55F32919167A}" dt="2026-01-30T19:13:37.260" v="711"/>
        <pc:sldMkLst>
          <pc:docMk/>
          <pc:sldMk cId="1304441920" sldId="2147478879"/>
        </pc:sldMkLst>
      </pc:sldChg>
      <pc:sldChg chg="add ord">
        <pc:chgData name="Jesse Noffsinger" userId="bc07d745-5b3a-4e8f-8554-c306a9634248" providerId="ADAL" clId="{FB32765A-8B8A-4B6E-8BA0-55F32919167A}" dt="2026-01-30T19:13:37.260" v="711"/>
        <pc:sldMkLst>
          <pc:docMk/>
          <pc:sldMk cId="2379947449" sldId="2147478880"/>
        </pc:sldMkLst>
      </pc:sldChg>
      <pc:sldChg chg="modSp add ord">
        <pc:chgData name="Jesse Noffsinger" userId="bc07d745-5b3a-4e8f-8554-c306a9634248" providerId="ADAL" clId="{FB32765A-8B8A-4B6E-8BA0-55F32919167A}" dt="2026-01-30T19:13:37.260" v="711"/>
        <pc:sldMkLst>
          <pc:docMk/>
          <pc:sldMk cId="3936352065" sldId="2147478881"/>
        </pc:sldMkLst>
        <pc:graphicFrameChg chg="mod">
          <ac:chgData name="Jesse Noffsinger" userId="bc07d745-5b3a-4e8f-8554-c306a9634248" providerId="ADAL" clId="{FB32765A-8B8A-4B6E-8BA0-55F32919167A}" dt="2026-01-30T18:39:44.600" v="317"/>
          <ac:graphicFrameMkLst>
            <pc:docMk/>
            <pc:sldMk cId="3936352065" sldId="2147478881"/>
            <ac:graphicFrameMk id="212" creationId="{6A806544-F3A3-AD46-4C28-13F15BAC2D2C}"/>
          </ac:graphicFrameMkLst>
        </pc:graphicFrameChg>
      </pc:sldChg>
    </pc:docChg>
  </pc:docChgLst>
  <pc:docChgLst>
    <pc:chgData name="Jesse Noffsinger" userId="S::jesse_noffsinger@mckinsey.com::bc07d745-5b3a-4e8f-8554-c306a9634248" providerId="AD" clId="Web-{9ED09AE5-3FCE-7408-53B1-A5D490DAE51D}"/>
    <pc:docChg chg="modSld">
      <pc:chgData name="Jesse Noffsinger" userId="S::jesse_noffsinger@mckinsey.com::bc07d745-5b3a-4e8f-8554-c306a9634248" providerId="AD" clId="Web-{9ED09AE5-3FCE-7408-53B1-A5D490DAE51D}" dt="2026-01-30T18:07:05.340" v="80" actId="14100"/>
      <pc:docMkLst>
        <pc:docMk/>
      </pc:docMkLst>
      <pc:sldChg chg="modSp">
        <pc:chgData name="Jesse Noffsinger" userId="S::jesse_noffsinger@mckinsey.com::bc07d745-5b3a-4e8f-8554-c306a9634248" providerId="AD" clId="Web-{9ED09AE5-3FCE-7408-53B1-A5D490DAE51D}" dt="2026-01-30T18:07:05.340" v="80" actId="14100"/>
        <pc:sldMkLst>
          <pc:docMk/>
          <pc:sldMk cId="1349677510" sldId="2147478766"/>
        </pc:sldMkLst>
        <pc:spChg chg="mod">
          <ac:chgData name="Jesse Noffsinger" userId="S::jesse_noffsinger@mckinsey.com::bc07d745-5b3a-4e8f-8554-c306a9634248" providerId="AD" clId="Web-{9ED09AE5-3FCE-7408-53B1-A5D490DAE51D}" dt="2026-01-30T17:55:52.517" v="1" actId="20577"/>
          <ac:spMkLst>
            <pc:docMk/>
            <pc:sldMk cId="1349677510" sldId="2147478766"/>
            <ac:spMk id="5" creationId="{68DBA945-F3BF-BAC7-F72F-A27DB3FDB884}"/>
          </ac:spMkLst>
        </pc:spChg>
        <pc:spChg chg="mod">
          <ac:chgData name="Jesse Noffsinger" userId="S::jesse_noffsinger@mckinsey.com::bc07d745-5b3a-4e8f-8554-c306a9634248" providerId="AD" clId="Web-{9ED09AE5-3FCE-7408-53B1-A5D490DAE51D}" dt="2026-01-30T18:04:35.906" v="4" actId="20577"/>
          <ac:spMkLst>
            <pc:docMk/>
            <pc:sldMk cId="1349677510" sldId="2147478766"/>
            <ac:spMk id="24" creationId="{9D935772-0740-169C-74D8-014CE4C482D8}"/>
          </ac:spMkLst>
        </pc:spChg>
        <pc:spChg chg="mod">
          <ac:chgData name="Jesse Noffsinger" userId="S::jesse_noffsinger@mckinsey.com::bc07d745-5b3a-4e8f-8554-c306a9634248" providerId="AD" clId="Web-{9ED09AE5-3FCE-7408-53B1-A5D490DAE51D}" dt="2026-01-30T18:07:05.340" v="80" actId="14100"/>
          <ac:spMkLst>
            <pc:docMk/>
            <pc:sldMk cId="1349677510" sldId="2147478766"/>
            <ac:spMk id="25" creationId="{0F2ECF75-E9FF-DD4D-F648-58921D3155D3}"/>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2E11038-C648-4BF3-8167-6AE1FF3EFDF1}"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BA20C27A-FD2A-445A-A719-6C03AF8940F3}">
      <dgm:prSet phldrT="[Text]"/>
      <dgm:spPr>
        <a:solidFill>
          <a:srgbClr val="5B6770"/>
        </a:solidFill>
      </dgm:spPr>
      <dgm:t>
        <a:bodyPr/>
        <a:lstStyle/>
        <a:p>
          <a:r>
            <a:rPr lang="en-US"/>
            <a:t>Click to edit Master subtitle style</a:t>
          </a:r>
        </a:p>
      </dgm:t>
    </dgm:pt>
    <dgm:pt modelId="{70D27D20-9B5C-4ACA-A932-25F2CF915F48}" type="parTrans" cxnId="{A5351B5C-9190-4E1A-BDA3-BCFD1EA44514}">
      <dgm:prSet/>
      <dgm:spPr/>
      <dgm:t>
        <a:bodyPr/>
        <a:lstStyle/>
        <a:p>
          <a:endParaRPr lang="en-US"/>
        </a:p>
      </dgm:t>
    </dgm:pt>
    <dgm:pt modelId="{6F8B888A-19D7-43C8-BC5E-9BDE549DF313}" type="sibTrans" cxnId="{A5351B5C-9190-4E1A-BDA3-BCFD1EA44514}">
      <dgm:prSet/>
      <dgm:spPr/>
      <dgm:t>
        <a:bodyPr/>
        <a:lstStyle/>
        <a:p>
          <a:endParaRPr lang="en-US"/>
        </a:p>
      </dgm:t>
    </dgm:pt>
    <dgm:pt modelId="{E0CEC3AC-4F65-405E-9DD2-9D5A494B4AC7}">
      <dgm:prSet phldrT="[Text]"/>
      <dgm:spPr>
        <a:solidFill>
          <a:srgbClr val="00AEC7"/>
        </a:solidFill>
      </dgm:spPr>
      <dgm:t>
        <a:bodyPr/>
        <a:lstStyle/>
        <a:p>
          <a:r>
            <a:rPr lang="en-US"/>
            <a:t>Click to edit Master subtitle style</a:t>
          </a:r>
        </a:p>
      </dgm:t>
    </dgm:pt>
    <dgm:pt modelId="{EAB6D17A-4709-4A18-AFBB-0789B952020D}" type="parTrans" cxnId="{6C928428-284E-4E7D-9683-6F55F36228FB}">
      <dgm:prSet/>
      <dgm:spPr/>
      <dgm:t>
        <a:bodyPr/>
        <a:lstStyle/>
        <a:p>
          <a:endParaRPr lang="en-US"/>
        </a:p>
      </dgm:t>
    </dgm:pt>
    <dgm:pt modelId="{E80F0502-7CC7-44FF-B609-B9414F795B8A}" type="sibTrans" cxnId="{6C928428-284E-4E7D-9683-6F55F36228FB}">
      <dgm:prSet/>
      <dgm:spPr/>
      <dgm:t>
        <a:bodyPr/>
        <a:lstStyle/>
        <a:p>
          <a:endParaRPr lang="en-US"/>
        </a:p>
      </dgm:t>
    </dgm:pt>
    <dgm:pt modelId="{187606C4-A5C3-49B4-8A18-BB38CA4215D5}">
      <dgm:prSet phldrT="[Text]"/>
      <dgm:spPr>
        <a:solidFill>
          <a:srgbClr val="093C61"/>
        </a:solidFill>
      </dgm:spPr>
      <dgm:t>
        <a:bodyPr/>
        <a:lstStyle/>
        <a:p>
          <a:r>
            <a:rPr lang="en-US"/>
            <a:t>Click to edit Master subtitle style</a:t>
          </a:r>
        </a:p>
      </dgm:t>
    </dgm:pt>
    <dgm:pt modelId="{58AE02CB-D91D-41B6-A813-B4F035391B83}" type="parTrans" cxnId="{72D59750-5757-41CF-AF05-6C57B64FB7ED}">
      <dgm:prSet/>
      <dgm:spPr/>
      <dgm:t>
        <a:bodyPr/>
        <a:lstStyle/>
        <a:p>
          <a:endParaRPr lang="en-US"/>
        </a:p>
      </dgm:t>
    </dgm:pt>
    <dgm:pt modelId="{3CFCF34C-096A-4329-BCDD-0A8D1A075934}" type="sibTrans" cxnId="{72D59750-5757-41CF-AF05-6C57B64FB7ED}">
      <dgm:prSet/>
      <dgm:spPr/>
      <dgm:t>
        <a:bodyPr/>
        <a:lstStyle/>
        <a:p>
          <a:endParaRPr lang="en-US"/>
        </a:p>
      </dgm:t>
    </dgm:pt>
    <dgm:pt modelId="{075A3D39-E191-4C23-AF82-FED389D4714A}" type="pres">
      <dgm:prSet presAssocID="{32E11038-C648-4BF3-8167-6AE1FF3EFDF1}" presName="Name0" presStyleCnt="0">
        <dgm:presLayoutVars>
          <dgm:chMax val="7"/>
          <dgm:chPref val="7"/>
          <dgm:dir/>
        </dgm:presLayoutVars>
      </dgm:prSet>
      <dgm:spPr/>
    </dgm:pt>
    <dgm:pt modelId="{80725D32-2ED8-4B1F-81A2-9F7C840C4E0C}" type="pres">
      <dgm:prSet presAssocID="{32E11038-C648-4BF3-8167-6AE1FF3EFDF1}" presName="Name1" presStyleCnt="0"/>
      <dgm:spPr/>
    </dgm:pt>
    <dgm:pt modelId="{B6A82959-4BD9-4D99-A596-9C774D74AB1C}" type="pres">
      <dgm:prSet presAssocID="{32E11038-C648-4BF3-8167-6AE1FF3EFDF1}" presName="cycle" presStyleCnt="0"/>
      <dgm:spPr/>
    </dgm:pt>
    <dgm:pt modelId="{A2FCC776-BF52-47C4-92E4-17467F9AE6E1}" type="pres">
      <dgm:prSet presAssocID="{32E11038-C648-4BF3-8167-6AE1FF3EFDF1}" presName="srcNode" presStyleLbl="node1" presStyleIdx="0" presStyleCnt="3"/>
      <dgm:spPr/>
    </dgm:pt>
    <dgm:pt modelId="{6304DB4F-C21D-43CE-BC19-7FC9FE4143EB}" type="pres">
      <dgm:prSet presAssocID="{32E11038-C648-4BF3-8167-6AE1FF3EFDF1}" presName="conn" presStyleLbl="parChTrans1D2" presStyleIdx="0" presStyleCnt="1"/>
      <dgm:spPr/>
    </dgm:pt>
    <dgm:pt modelId="{0AC5C796-425F-48EC-9CE3-FF43A9E945D1}" type="pres">
      <dgm:prSet presAssocID="{32E11038-C648-4BF3-8167-6AE1FF3EFDF1}" presName="extraNode" presStyleLbl="node1" presStyleIdx="0" presStyleCnt="3"/>
      <dgm:spPr/>
    </dgm:pt>
    <dgm:pt modelId="{FEDB5C55-0F80-4976-AD26-0CEE89BEB7EA}" type="pres">
      <dgm:prSet presAssocID="{32E11038-C648-4BF3-8167-6AE1FF3EFDF1}" presName="dstNode" presStyleLbl="node1" presStyleIdx="0" presStyleCnt="3"/>
      <dgm:spPr/>
    </dgm:pt>
    <dgm:pt modelId="{89592E09-CC88-4904-BF5E-1629C8C5E634}" type="pres">
      <dgm:prSet presAssocID="{BA20C27A-FD2A-445A-A719-6C03AF8940F3}" presName="text_1" presStyleLbl="node1" presStyleIdx="0" presStyleCnt="3">
        <dgm:presLayoutVars>
          <dgm:bulletEnabled val="1"/>
        </dgm:presLayoutVars>
      </dgm:prSet>
      <dgm:spPr/>
    </dgm:pt>
    <dgm:pt modelId="{9A21976F-30D0-4847-9028-5756044BAAC3}" type="pres">
      <dgm:prSet presAssocID="{BA20C27A-FD2A-445A-A719-6C03AF8940F3}" presName="accent_1" presStyleCnt="0"/>
      <dgm:spPr/>
    </dgm:pt>
    <dgm:pt modelId="{36E4D279-9DCF-4996-B9DB-80023277EC34}" type="pres">
      <dgm:prSet presAssocID="{BA20C27A-FD2A-445A-A719-6C03AF8940F3}" presName="accentRepeatNode" presStyleLbl="solidFgAcc1" presStyleIdx="0" presStyleCnt="3"/>
      <dgm:spPr>
        <a:ln w="50800">
          <a:solidFill>
            <a:srgbClr val="5B6770"/>
          </a:solidFill>
        </a:ln>
      </dgm:spPr>
    </dgm:pt>
    <dgm:pt modelId="{FA8E3AD4-7354-43A8-B93D-74F840B6AEF6}" type="pres">
      <dgm:prSet presAssocID="{E0CEC3AC-4F65-405E-9DD2-9D5A494B4AC7}" presName="text_2" presStyleLbl="node1" presStyleIdx="1" presStyleCnt="3">
        <dgm:presLayoutVars>
          <dgm:bulletEnabled val="1"/>
        </dgm:presLayoutVars>
      </dgm:prSet>
      <dgm:spPr/>
    </dgm:pt>
    <dgm:pt modelId="{FDAFDD12-87AE-496F-A9BD-D8FA3C5C588E}" type="pres">
      <dgm:prSet presAssocID="{E0CEC3AC-4F65-405E-9DD2-9D5A494B4AC7}" presName="accent_2" presStyleCnt="0"/>
      <dgm:spPr/>
    </dgm:pt>
    <dgm:pt modelId="{CE0FEE12-C9DD-48AF-B095-635EAD24EB23}" type="pres">
      <dgm:prSet presAssocID="{E0CEC3AC-4F65-405E-9DD2-9D5A494B4AC7}" presName="accentRepeatNode" presStyleLbl="solidFgAcc1" presStyleIdx="1" presStyleCnt="3"/>
      <dgm:spPr>
        <a:ln w="50800">
          <a:solidFill>
            <a:srgbClr val="00AEC7"/>
          </a:solidFill>
        </a:ln>
      </dgm:spPr>
    </dgm:pt>
    <dgm:pt modelId="{30EB52CC-4F02-4C80-AAF8-62BFF5A038EA}" type="pres">
      <dgm:prSet presAssocID="{187606C4-A5C3-49B4-8A18-BB38CA4215D5}" presName="text_3" presStyleLbl="node1" presStyleIdx="2" presStyleCnt="3">
        <dgm:presLayoutVars>
          <dgm:bulletEnabled val="1"/>
        </dgm:presLayoutVars>
      </dgm:prSet>
      <dgm:spPr/>
    </dgm:pt>
    <dgm:pt modelId="{C8B76DD7-65EF-4958-B29D-8E09C2D14548}" type="pres">
      <dgm:prSet presAssocID="{187606C4-A5C3-49B4-8A18-BB38CA4215D5}" presName="accent_3" presStyleCnt="0"/>
      <dgm:spPr/>
    </dgm:pt>
    <dgm:pt modelId="{E96C1AF3-5332-4D40-8E92-7C851D843D9E}" type="pres">
      <dgm:prSet presAssocID="{187606C4-A5C3-49B4-8A18-BB38CA4215D5}" presName="accentRepeatNode" presStyleLbl="solidFgAcc1" presStyleIdx="2" presStyleCnt="3"/>
      <dgm:spPr>
        <a:ln w="50800">
          <a:solidFill>
            <a:srgbClr val="093C61"/>
          </a:solidFill>
        </a:ln>
      </dgm:spPr>
    </dgm:pt>
  </dgm:ptLst>
  <dgm:cxnLst>
    <dgm:cxn modelId="{6C928428-284E-4E7D-9683-6F55F36228FB}" srcId="{32E11038-C648-4BF3-8167-6AE1FF3EFDF1}" destId="{E0CEC3AC-4F65-405E-9DD2-9D5A494B4AC7}" srcOrd="1" destOrd="0" parTransId="{EAB6D17A-4709-4A18-AFBB-0789B952020D}" sibTransId="{E80F0502-7CC7-44FF-B609-B9414F795B8A}"/>
    <dgm:cxn modelId="{57C00C33-A140-4336-BF90-35942F94805A}" type="presOf" srcId="{187606C4-A5C3-49B4-8A18-BB38CA4215D5}" destId="{30EB52CC-4F02-4C80-AAF8-62BFF5A038EA}" srcOrd="0" destOrd="0" presId="urn:microsoft.com/office/officeart/2008/layout/VerticalCurvedList"/>
    <dgm:cxn modelId="{A5351B5C-9190-4E1A-BDA3-BCFD1EA44514}" srcId="{32E11038-C648-4BF3-8167-6AE1FF3EFDF1}" destId="{BA20C27A-FD2A-445A-A719-6C03AF8940F3}" srcOrd="0" destOrd="0" parTransId="{70D27D20-9B5C-4ACA-A932-25F2CF915F48}" sibTransId="{6F8B888A-19D7-43C8-BC5E-9BDE549DF313}"/>
    <dgm:cxn modelId="{53883844-14BD-4351-A151-F1F21DB11AA2}" type="presOf" srcId="{E0CEC3AC-4F65-405E-9DD2-9D5A494B4AC7}" destId="{FA8E3AD4-7354-43A8-B93D-74F840B6AEF6}" srcOrd="0" destOrd="0" presId="urn:microsoft.com/office/officeart/2008/layout/VerticalCurvedList"/>
    <dgm:cxn modelId="{72D59750-5757-41CF-AF05-6C57B64FB7ED}" srcId="{32E11038-C648-4BF3-8167-6AE1FF3EFDF1}" destId="{187606C4-A5C3-49B4-8A18-BB38CA4215D5}" srcOrd="2" destOrd="0" parTransId="{58AE02CB-D91D-41B6-A813-B4F035391B83}" sibTransId="{3CFCF34C-096A-4329-BCDD-0A8D1A075934}"/>
    <dgm:cxn modelId="{EBE72F74-33D1-4060-A3B4-F3A60F68D2DE}" type="presOf" srcId="{BA20C27A-FD2A-445A-A719-6C03AF8940F3}" destId="{89592E09-CC88-4904-BF5E-1629C8C5E634}" srcOrd="0" destOrd="0" presId="urn:microsoft.com/office/officeart/2008/layout/VerticalCurvedList"/>
    <dgm:cxn modelId="{44A009B9-4C6E-4056-A237-21B77C751944}" type="presOf" srcId="{32E11038-C648-4BF3-8167-6AE1FF3EFDF1}" destId="{075A3D39-E191-4C23-AF82-FED389D4714A}" srcOrd="0" destOrd="0" presId="urn:microsoft.com/office/officeart/2008/layout/VerticalCurvedList"/>
    <dgm:cxn modelId="{C12810DE-047C-44F0-893C-5DBF7D150250}" type="presOf" srcId="{6F8B888A-19D7-43C8-BC5E-9BDE549DF313}" destId="{6304DB4F-C21D-43CE-BC19-7FC9FE4143EB}" srcOrd="0" destOrd="0" presId="urn:microsoft.com/office/officeart/2008/layout/VerticalCurvedList"/>
    <dgm:cxn modelId="{C8DF18D6-9728-4B9E-8416-9844D37BED16}" type="presParOf" srcId="{075A3D39-E191-4C23-AF82-FED389D4714A}" destId="{80725D32-2ED8-4B1F-81A2-9F7C840C4E0C}" srcOrd="0" destOrd="0" presId="urn:microsoft.com/office/officeart/2008/layout/VerticalCurvedList"/>
    <dgm:cxn modelId="{E35D8989-C4EB-4877-88F9-278C7A5D79BE}" type="presParOf" srcId="{80725D32-2ED8-4B1F-81A2-9F7C840C4E0C}" destId="{B6A82959-4BD9-4D99-A596-9C774D74AB1C}" srcOrd="0" destOrd="0" presId="urn:microsoft.com/office/officeart/2008/layout/VerticalCurvedList"/>
    <dgm:cxn modelId="{2E10BBB5-BB5F-4213-81D6-299D4ED932F9}" type="presParOf" srcId="{B6A82959-4BD9-4D99-A596-9C774D74AB1C}" destId="{A2FCC776-BF52-47C4-92E4-17467F9AE6E1}" srcOrd="0" destOrd="0" presId="urn:microsoft.com/office/officeart/2008/layout/VerticalCurvedList"/>
    <dgm:cxn modelId="{5B23B201-EE0E-41FD-994F-D36FF4AEDA82}" type="presParOf" srcId="{B6A82959-4BD9-4D99-A596-9C774D74AB1C}" destId="{6304DB4F-C21D-43CE-BC19-7FC9FE4143EB}" srcOrd="1" destOrd="0" presId="urn:microsoft.com/office/officeart/2008/layout/VerticalCurvedList"/>
    <dgm:cxn modelId="{44830F56-0B6E-4957-B591-535E7C4AE88E}" type="presParOf" srcId="{B6A82959-4BD9-4D99-A596-9C774D74AB1C}" destId="{0AC5C796-425F-48EC-9CE3-FF43A9E945D1}" srcOrd="2" destOrd="0" presId="urn:microsoft.com/office/officeart/2008/layout/VerticalCurvedList"/>
    <dgm:cxn modelId="{B512C53B-041E-4F05-874B-6C14137472B2}" type="presParOf" srcId="{B6A82959-4BD9-4D99-A596-9C774D74AB1C}" destId="{FEDB5C55-0F80-4976-AD26-0CEE89BEB7EA}" srcOrd="3" destOrd="0" presId="urn:microsoft.com/office/officeart/2008/layout/VerticalCurvedList"/>
    <dgm:cxn modelId="{B5267D50-E7E0-4BB1-BFA8-A827CCA77309}" type="presParOf" srcId="{80725D32-2ED8-4B1F-81A2-9F7C840C4E0C}" destId="{89592E09-CC88-4904-BF5E-1629C8C5E634}" srcOrd="1" destOrd="0" presId="urn:microsoft.com/office/officeart/2008/layout/VerticalCurvedList"/>
    <dgm:cxn modelId="{B277B9AB-1A22-46B8-AB75-EA271659F9A9}" type="presParOf" srcId="{80725D32-2ED8-4B1F-81A2-9F7C840C4E0C}" destId="{9A21976F-30D0-4847-9028-5756044BAAC3}" srcOrd="2" destOrd="0" presId="urn:microsoft.com/office/officeart/2008/layout/VerticalCurvedList"/>
    <dgm:cxn modelId="{F63A9C37-6ADA-42F7-9567-B5030E7619A5}" type="presParOf" srcId="{9A21976F-30D0-4847-9028-5756044BAAC3}" destId="{36E4D279-9DCF-4996-B9DB-80023277EC34}" srcOrd="0" destOrd="0" presId="urn:microsoft.com/office/officeart/2008/layout/VerticalCurvedList"/>
    <dgm:cxn modelId="{F0AF24C9-085E-4E7F-84AF-44BDBD83C8D6}" type="presParOf" srcId="{80725D32-2ED8-4B1F-81A2-9F7C840C4E0C}" destId="{FA8E3AD4-7354-43A8-B93D-74F840B6AEF6}" srcOrd="3" destOrd="0" presId="urn:microsoft.com/office/officeart/2008/layout/VerticalCurvedList"/>
    <dgm:cxn modelId="{53C3BAA1-3CEB-4E9B-B244-D18A0E21044B}" type="presParOf" srcId="{80725D32-2ED8-4B1F-81A2-9F7C840C4E0C}" destId="{FDAFDD12-87AE-496F-A9BD-D8FA3C5C588E}" srcOrd="4" destOrd="0" presId="urn:microsoft.com/office/officeart/2008/layout/VerticalCurvedList"/>
    <dgm:cxn modelId="{D9AAB689-C278-446B-B50B-F0121693A922}" type="presParOf" srcId="{FDAFDD12-87AE-496F-A9BD-D8FA3C5C588E}" destId="{CE0FEE12-C9DD-48AF-B095-635EAD24EB23}" srcOrd="0" destOrd="0" presId="urn:microsoft.com/office/officeart/2008/layout/VerticalCurvedList"/>
    <dgm:cxn modelId="{6BE5BE6F-02B9-4318-9BB9-B7CD1051F0D2}" type="presParOf" srcId="{80725D32-2ED8-4B1F-81A2-9F7C840C4E0C}" destId="{30EB52CC-4F02-4C80-AAF8-62BFF5A038EA}" srcOrd="5" destOrd="0" presId="urn:microsoft.com/office/officeart/2008/layout/VerticalCurvedList"/>
    <dgm:cxn modelId="{37A2E405-9B83-4313-96A7-0A679F777B18}" type="presParOf" srcId="{80725D32-2ED8-4B1F-81A2-9F7C840C4E0C}" destId="{C8B76DD7-65EF-4958-B29D-8E09C2D14548}" srcOrd="6" destOrd="0" presId="urn:microsoft.com/office/officeart/2008/layout/VerticalCurvedList"/>
    <dgm:cxn modelId="{BA1CF7BF-1B96-48C4-ADB0-9317E5BC7454}" type="presParOf" srcId="{C8B76DD7-65EF-4958-B29D-8E09C2D14548}" destId="{E96C1AF3-5332-4D40-8E92-7C851D843D9E}"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04DB4F-C21D-43CE-BC19-7FC9FE4143EB}">
      <dsp:nvSpPr>
        <dsp:cNvPr id="0" name=""/>
        <dsp:cNvSpPr/>
      </dsp:nvSpPr>
      <dsp:spPr>
        <a:xfrm>
          <a:off x="-6201673" y="-949060"/>
          <a:ext cx="7384521" cy="7384521"/>
        </a:xfrm>
        <a:prstGeom prst="blockArc">
          <a:avLst>
            <a:gd name="adj1" fmla="val 18900000"/>
            <a:gd name="adj2" fmla="val 2700000"/>
            <a:gd name="adj3" fmla="val 293"/>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9592E09-CC88-4904-BF5E-1629C8C5E634}">
      <dsp:nvSpPr>
        <dsp:cNvPr id="0" name=""/>
        <dsp:cNvSpPr/>
      </dsp:nvSpPr>
      <dsp:spPr>
        <a:xfrm>
          <a:off x="761512" y="548640"/>
          <a:ext cx="10541975" cy="1097280"/>
        </a:xfrm>
        <a:prstGeom prst="rect">
          <a:avLst/>
        </a:prstGeom>
        <a:solidFill>
          <a:srgbClr val="5B677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0966" tIns="127000" rIns="127000" bIns="127000" numCol="1" spcCol="1270" anchor="ctr" anchorCtr="0">
          <a:noAutofit/>
        </a:bodyPr>
        <a:lstStyle/>
        <a:p>
          <a:pPr marL="0" lvl="0" indent="0" algn="l" defTabSz="2222500">
            <a:lnSpc>
              <a:spcPct val="90000"/>
            </a:lnSpc>
            <a:spcBef>
              <a:spcPct val="0"/>
            </a:spcBef>
            <a:spcAft>
              <a:spcPct val="35000"/>
            </a:spcAft>
            <a:buNone/>
          </a:pPr>
          <a:r>
            <a:rPr lang="en-US" sz="5000" kern="1200"/>
            <a:t>Click to edit Master subtitle style</a:t>
          </a:r>
        </a:p>
      </dsp:txBody>
      <dsp:txXfrm>
        <a:off x="761512" y="548640"/>
        <a:ext cx="10541975" cy="1097280"/>
      </dsp:txXfrm>
    </dsp:sp>
    <dsp:sp modelId="{36E4D279-9DCF-4996-B9DB-80023277EC34}">
      <dsp:nvSpPr>
        <dsp:cNvPr id="0" name=""/>
        <dsp:cNvSpPr/>
      </dsp:nvSpPr>
      <dsp:spPr>
        <a:xfrm>
          <a:off x="75712" y="411480"/>
          <a:ext cx="1371600" cy="1371600"/>
        </a:xfrm>
        <a:prstGeom prst="ellipse">
          <a:avLst/>
        </a:prstGeom>
        <a:solidFill>
          <a:schemeClr val="lt1">
            <a:hueOff val="0"/>
            <a:satOff val="0"/>
            <a:lumOff val="0"/>
            <a:alphaOff val="0"/>
          </a:schemeClr>
        </a:solidFill>
        <a:ln w="50800" cap="flat" cmpd="sng" algn="ctr">
          <a:solidFill>
            <a:srgbClr val="5B6770"/>
          </a:solidFill>
          <a:prstDash val="solid"/>
        </a:ln>
        <a:effectLst/>
      </dsp:spPr>
      <dsp:style>
        <a:lnRef idx="2">
          <a:scrgbClr r="0" g="0" b="0"/>
        </a:lnRef>
        <a:fillRef idx="1">
          <a:scrgbClr r="0" g="0" b="0"/>
        </a:fillRef>
        <a:effectRef idx="0">
          <a:scrgbClr r="0" g="0" b="0"/>
        </a:effectRef>
        <a:fontRef idx="minor"/>
      </dsp:style>
    </dsp:sp>
    <dsp:sp modelId="{FA8E3AD4-7354-43A8-B93D-74F840B6AEF6}">
      <dsp:nvSpPr>
        <dsp:cNvPr id="0" name=""/>
        <dsp:cNvSpPr/>
      </dsp:nvSpPr>
      <dsp:spPr>
        <a:xfrm>
          <a:off x="1160373" y="2194560"/>
          <a:ext cx="10143114" cy="1097280"/>
        </a:xfrm>
        <a:prstGeom prst="rect">
          <a:avLst/>
        </a:prstGeom>
        <a:solidFill>
          <a:srgbClr val="00AEC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0966" tIns="127000" rIns="127000" bIns="127000" numCol="1" spcCol="1270" anchor="ctr" anchorCtr="0">
          <a:noAutofit/>
        </a:bodyPr>
        <a:lstStyle/>
        <a:p>
          <a:pPr marL="0" lvl="0" indent="0" algn="l" defTabSz="2222500">
            <a:lnSpc>
              <a:spcPct val="90000"/>
            </a:lnSpc>
            <a:spcBef>
              <a:spcPct val="0"/>
            </a:spcBef>
            <a:spcAft>
              <a:spcPct val="35000"/>
            </a:spcAft>
            <a:buNone/>
          </a:pPr>
          <a:r>
            <a:rPr lang="en-US" sz="5000" kern="1200"/>
            <a:t>Click to edit Master subtitle style</a:t>
          </a:r>
        </a:p>
      </dsp:txBody>
      <dsp:txXfrm>
        <a:off x="1160373" y="2194560"/>
        <a:ext cx="10143114" cy="1097280"/>
      </dsp:txXfrm>
    </dsp:sp>
    <dsp:sp modelId="{CE0FEE12-C9DD-48AF-B095-635EAD24EB23}">
      <dsp:nvSpPr>
        <dsp:cNvPr id="0" name=""/>
        <dsp:cNvSpPr/>
      </dsp:nvSpPr>
      <dsp:spPr>
        <a:xfrm>
          <a:off x="474573" y="2057400"/>
          <a:ext cx="1371600" cy="1371600"/>
        </a:xfrm>
        <a:prstGeom prst="ellipse">
          <a:avLst/>
        </a:prstGeom>
        <a:solidFill>
          <a:schemeClr val="lt1">
            <a:hueOff val="0"/>
            <a:satOff val="0"/>
            <a:lumOff val="0"/>
            <a:alphaOff val="0"/>
          </a:schemeClr>
        </a:solidFill>
        <a:ln w="50800" cap="flat" cmpd="sng" algn="ctr">
          <a:solidFill>
            <a:srgbClr val="00AEC7"/>
          </a:solidFill>
          <a:prstDash val="solid"/>
        </a:ln>
        <a:effectLst/>
      </dsp:spPr>
      <dsp:style>
        <a:lnRef idx="2">
          <a:scrgbClr r="0" g="0" b="0"/>
        </a:lnRef>
        <a:fillRef idx="1">
          <a:scrgbClr r="0" g="0" b="0"/>
        </a:fillRef>
        <a:effectRef idx="0">
          <a:scrgbClr r="0" g="0" b="0"/>
        </a:effectRef>
        <a:fontRef idx="minor"/>
      </dsp:style>
    </dsp:sp>
    <dsp:sp modelId="{30EB52CC-4F02-4C80-AAF8-62BFF5A038EA}">
      <dsp:nvSpPr>
        <dsp:cNvPr id="0" name=""/>
        <dsp:cNvSpPr/>
      </dsp:nvSpPr>
      <dsp:spPr>
        <a:xfrm>
          <a:off x="761512" y="3840480"/>
          <a:ext cx="10541975" cy="1097280"/>
        </a:xfrm>
        <a:prstGeom prst="rect">
          <a:avLst/>
        </a:prstGeom>
        <a:solidFill>
          <a:srgbClr val="093C6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0966" tIns="127000" rIns="127000" bIns="127000" numCol="1" spcCol="1270" anchor="ctr" anchorCtr="0">
          <a:noAutofit/>
        </a:bodyPr>
        <a:lstStyle/>
        <a:p>
          <a:pPr marL="0" lvl="0" indent="0" algn="l" defTabSz="2222500">
            <a:lnSpc>
              <a:spcPct val="90000"/>
            </a:lnSpc>
            <a:spcBef>
              <a:spcPct val="0"/>
            </a:spcBef>
            <a:spcAft>
              <a:spcPct val="35000"/>
            </a:spcAft>
            <a:buNone/>
          </a:pPr>
          <a:r>
            <a:rPr lang="en-US" sz="5000" kern="1200"/>
            <a:t>Click to edit Master subtitle style</a:t>
          </a:r>
        </a:p>
      </dsp:txBody>
      <dsp:txXfrm>
        <a:off x="761512" y="3840480"/>
        <a:ext cx="10541975" cy="1097280"/>
      </dsp:txXfrm>
    </dsp:sp>
    <dsp:sp modelId="{E96C1AF3-5332-4D40-8E92-7C851D843D9E}">
      <dsp:nvSpPr>
        <dsp:cNvPr id="0" name=""/>
        <dsp:cNvSpPr/>
      </dsp:nvSpPr>
      <dsp:spPr>
        <a:xfrm>
          <a:off x="75712" y="3703320"/>
          <a:ext cx="1371600" cy="1371600"/>
        </a:xfrm>
        <a:prstGeom prst="ellipse">
          <a:avLst/>
        </a:prstGeom>
        <a:solidFill>
          <a:schemeClr val="lt1">
            <a:hueOff val="0"/>
            <a:satOff val="0"/>
            <a:lumOff val="0"/>
            <a:alphaOff val="0"/>
          </a:schemeClr>
        </a:solidFill>
        <a:ln w="50800" cap="flat" cmpd="sng" algn="ctr">
          <a:solidFill>
            <a:srgbClr val="093C61"/>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30 January 2026</a:t>
            </a:fld>
            <a:endParaRPr lang="en-US"/>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rtl="0">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rtl="0">
              <a:defRPr sz="900">
                <a:latin typeface="+mn-lt"/>
                <a:cs typeface="Arial" panose="020B0604020202020204" pitchFamily="34" charset="0"/>
              </a:defRPr>
            </a:lvl1pPr>
          </a:lstStyle>
          <a:p>
            <a:fld id="{1DF34805-1F01-4BDA-A8CA-FCEA2B4BC8D0}" type="datetime3">
              <a:rPr lang="en-US" smtClean="0"/>
              <a:pPr/>
              <a:t>30 January 2026</a:t>
            </a:fld>
            <a:endParaRPr lang="en-US"/>
          </a:p>
        </p:txBody>
      </p:sp>
      <p:sp>
        <p:nvSpPr>
          <p:cNvPr id="4" name="Slide Image Placeholder 3"/>
          <p:cNvSpPr>
            <a:spLocks noGrp="1" noRot="1" noChangeAspect="1"/>
          </p:cNvSpPr>
          <p:nvPr>
            <p:ph type="sldImg" idx="2"/>
          </p:nvPr>
        </p:nvSpPr>
        <p:spPr>
          <a:xfrm>
            <a:off x="735012"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rtl="0">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rtl="0">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735012" y="4518025"/>
            <a:ext cx="5632450" cy="1000274"/>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SzPct val="100000"/>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BCC714-8319-416A-AE1D-9E9C9314AAD1}"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0 January 2026</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1741063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5.xml"/><Relationship Id="rId7" Type="http://schemas.openxmlformats.org/officeDocument/2006/relationships/oleObject" Target="../embeddings/oleObject2.bin"/><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91.xml"/><Relationship Id="rId3" Type="http://schemas.openxmlformats.org/officeDocument/2006/relationships/tags" Target="../tags/tag86.xml"/><Relationship Id="rId7" Type="http://schemas.openxmlformats.org/officeDocument/2006/relationships/tags" Target="../tags/tag90.xml"/><Relationship Id="rId12" Type="http://schemas.openxmlformats.org/officeDocument/2006/relationships/image" Target="../media/image2.pn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tags" Target="../tags/tag89.xml"/><Relationship Id="rId11" Type="http://schemas.openxmlformats.org/officeDocument/2006/relationships/image" Target="../media/image6.emf"/><Relationship Id="rId5" Type="http://schemas.openxmlformats.org/officeDocument/2006/relationships/tags" Target="../tags/tag88.xml"/><Relationship Id="rId10" Type="http://schemas.openxmlformats.org/officeDocument/2006/relationships/oleObject" Target="../embeddings/oleObject11.bin"/><Relationship Id="rId4" Type="http://schemas.openxmlformats.org/officeDocument/2006/relationships/tags" Target="../tags/tag87.xml"/><Relationship Id="rId9"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99.xml"/><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image" Target="../media/image2.png"/><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tags" Target="../tags/tag97.xml"/><Relationship Id="rId11" Type="http://schemas.openxmlformats.org/officeDocument/2006/relationships/image" Target="../media/image1.emf"/><Relationship Id="rId5" Type="http://schemas.openxmlformats.org/officeDocument/2006/relationships/tags" Target="../tags/tag96.xml"/><Relationship Id="rId10" Type="http://schemas.openxmlformats.org/officeDocument/2006/relationships/oleObject" Target="../embeddings/oleObject12.bin"/><Relationship Id="rId4" Type="http://schemas.openxmlformats.org/officeDocument/2006/relationships/tags" Target="../tags/tag95.xml"/><Relationship Id="rId9"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02.xml"/><Relationship Id="rId7" Type="http://schemas.openxmlformats.org/officeDocument/2006/relationships/slideMaster" Target="../slideMasters/slideMaster1.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tags" Target="../tags/tag105.xml"/><Relationship Id="rId5" Type="http://schemas.openxmlformats.org/officeDocument/2006/relationships/tags" Target="../tags/tag104.xml"/><Relationship Id="rId10" Type="http://schemas.openxmlformats.org/officeDocument/2006/relationships/image" Target="../media/image2.png"/><Relationship Id="rId4" Type="http://schemas.openxmlformats.org/officeDocument/2006/relationships/tags" Target="../tags/tag103.xml"/><Relationship Id="rId9"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08.xml"/><Relationship Id="rId7" Type="http://schemas.openxmlformats.org/officeDocument/2006/relationships/image" Target="../media/image3.emf"/><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oleObject" Target="../embeddings/oleObject14.bin"/><Relationship Id="rId5" Type="http://schemas.openxmlformats.org/officeDocument/2006/relationships/slideMaster" Target="../slideMasters/slideMaster1.xml"/><Relationship Id="rId4" Type="http://schemas.openxmlformats.org/officeDocument/2006/relationships/tags" Target="../tags/tag109.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20.xml"/><Relationship Id="rId7" Type="http://schemas.openxmlformats.org/officeDocument/2006/relationships/image" Target="../media/image3.emf"/><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oleObject" Target="../embeddings/oleObject17.bin"/><Relationship Id="rId5" Type="http://schemas.openxmlformats.org/officeDocument/2006/relationships/slideMaster" Target="../slideMasters/slideMaster2.xml"/><Relationship Id="rId4" Type="http://schemas.openxmlformats.org/officeDocument/2006/relationships/tags" Target="../tags/tag121.xml"/></Relationships>
</file>

<file path=ppt/slideLayouts/_rels/slideLayout1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24.xml"/><Relationship Id="rId7" Type="http://schemas.openxmlformats.org/officeDocument/2006/relationships/tags" Target="../tags/tag128.xml"/><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tags" Target="../tags/tag127.xml"/><Relationship Id="rId5" Type="http://schemas.openxmlformats.org/officeDocument/2006/relationships/tags" Target="../tags/tag126.xml"/><Relationship Id="rId10" Type="http://schemas.openxmlformats.org/officeDocument/2006/relationships/image" Target="../media/image1.emf"/><Relationship Id="rId4" Type="http://schemas.openxmlformats.org/officeDocument/2006/relationships/tags" Target="../tags/tag125.xml"/><Relationship Id="rId9" Type="http://schemas.openxmlformats.org/officeDocument/2006/relationships/oleObject" Target="../embeddings/oleObject18.bin"/></Relationships>
</file>

<file path=ppt/slideLayouts/_rels/slideLayout17.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131.xml"/><Relationship Id="rId7" Type="http://schemas.openxmlformats.org/officeDocument/2006/relationships/slideMaster" Target="../slideMasters/slideMaster2.xml"/><Relationship Id="rId2" Type="http://schemas.openxmlformats.org/officeDocument/2006/relationships/tags" Target="../tags/tag130.xml"/><Relationship Id="rId1" Type="http://schemas.openxmlformats.org/officeDocument/2006/relationships/tags" Target="../tags/tag129.xml"/><Relationship Id="rId6" Type="http://schemas.openxmlformats.org/officeDocument/2006/relationships/tags" Target="../tags/tag134.xml"/><Relationship Id="rId5" Type="http://schemas.openxmlformats.org/officeDocument/2006/relationships/tags" Target="../tags/tag133.xml"/><Relationship Id="rId4" Type="http://schemas.openxmlformats.org/officeDocument/2006/relationships/tags" Target="../tags/tag132.xml"/><Relationship Id="rId9"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137.xml"/><Relationship Id="rId7" Type="http://schemas.openxmlformats.org/officeDocument/2006/relationships/slideMaster" Target="../slideMasters/slideMaster2.xml"/><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tags" Target="../tags/tag140.xml"/><Relationship Id="rId5" Type="http://schemas.openxmlformats.org/officeDocument/2006/relationships/tags" Target="../tags/tag139.xml"/><Relationship Id="rId4" Type="http://schemas.openxmlformats.org/officeDocument/2006/relationships/tags" Target="../tags/tag138.xml"/><Relationship Id="rId9"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143.xml"/><Relationship Id="rId7" Type="http://schemas.openxmlformats.org/officeDocument/2006/relationships/slideMaster" Target="../slideMasters/slideMaster2.xml"/><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tags" Target="../tags/tag146.xml"/><Relationship Id="rId11" Type="http://schemas.microsoft.com/office/2007/relationships/hdphoto" Target="../media/hdphoto2.wdp"/><Relationship Id="rId5" Type="http://schemas.openxmlformats.org/officeDocument/2006/relationships/tags" Target="../tags/tag145.xml"/><Relationship Id="rId10" Type="http://schemas.openxmlformats.org/officeDocument/2006/relationships/image" Target="../media/image8.png"/><Relationship Id="rId4" Type="http://schemas.openxmlformats.org/officeDocument/2006/relationships/tags" Target="../tags/tag144.xml"/><Relationship Id="rId9"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image" Target="../media/image1.emf"/><Relationship Id="rId4" Type="http://schemas.openxmlformats.org/officeDocument/2006/relationships/tags" Target="../tags/tag31.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49.xml"/><Relationship Id="rId7" Type="http://schemas.openxmlformats.org/officeDocument/2006/relationships/tags" Target="../tags/tag153.xml"/><Relationship Id="rId2" Type="http://schemas.openxmlformats.org/officeDocument/2006/relationships/tags" Target="../tags/tag148.xml"/><Relationship Id="rId1" Type="http://schemas.openxmlformats.org/officeDocument/2006/relationships/tags" Target="../tags/tag147.xml"/><Relationship Id="rId6" Type="http://schemas.openxmlformats.org/officeDocument/2006/relationships/tags" Target="../tags/tag152.xml"/><Relationship Id="rId5" Type="http://schemas.openxmlformats.org/officeDocument/2006/relationships/tags" Target="../tags/tag151.xml"/><Relationship Id="rId10" Type="http://schemas.openxmlformats.org/officeDocument/2006/relationships/image" Target="../media/image3.emf"/><Relationship Id="rId4" Type="http://schemas.openxmlformats.org/officeDocument/2006/relationships/tags" Target="../tags/tag150.xml"/><Relationship Id="rId9" Type="http://schemas.openxmlformats.org/officeDocument/2006/relationships/oleObject" Target="../embeddings/oleObject22.bin"/></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61.xml"/><Relationship Id="rId3" Type="http://schemas.openxmlformats.org/officeDocument/2006/relationships/tags" Target="../tags/tag156.xml"/><Relationship Id="rId7" Type="http://schemas.openxmlformats.org/officeDocument/2006/relationships/tags" Target="../tags/tag160.xml"/><Relationship Id="rId12" Type="http://schemas.openxmlformats.org/officeDocument/2006/relationships/image" Target="../media/image2.png"/><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tags" Target="../tags/tag159.xml"/><Relationship Id="rId11" Type="http://schemas.openxmlformats.org/officeDocument/2006/relationships/image" Target="../media/image1.emf"/><Relationship Id="rId5" Type="http://schemas.openxmlformats.org/officeDocument/2006/relationships/tags" Target="../tags/tag158.xml"/><Relationship Id="rId10" Type="http://schemas.openxmlformats.org/officeDocument/2006/relationships/oleObject" Target="../embeddings/oleObject23.bin"/><Relationship Id="rId4" Type="http://schemas.openxmlformats.org/officeDocument/2006/relationships/tags" Target="../tags/tag157.xml"/><Relationship Id="rId9"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69.xml"/><Relationship Id="rId3" Type="http://schemas.openxmlformats.org/officeDocument/2006/relationships/tags" Target="../tags/tag164.xml"/><Relationship Id="rId7" Type="http://schemas.openxmlformats.org/officeDocument/2006/relationships/tags" Target="../tags/tag168.xml"/><Relationship Id="rId12" Type="http://schemas.openxmlformats.org/officeDocument/2006/relationships/image" Target="../media/image2.png"/><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tags" Target="../tags/tag167.xml"/><Relationship Id="rId11" Type="http://schemas.openxmlformats.org/officeDocument/2006/relationships/image" Target="../media/image1.emf"/><Relationship Id="rId5" Type="http://schemas.openxmlformats.org/officeDocument/2006/relationships/tags" Target="../tags/tag166.xml"/><Relationship Id="rId10" Type="http://schemas.openxmlformats.org/officeDocument/2006/relationships/oleObject" Target="../embeddings/oleObject24.bin"/><Relationship Id="rId4" Type="http://schemas.openxmlformats.org/officeDocument/2006/relationships/tags" Target="../tags/tag165.xml"/><Relationship Id="rId9"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177.xml"/><Relationship Id="rId3" Type="http://schemas.openxmlformats.org/officeDocument/2006/relationships/tags" Target="../tags/tag172.xml"/><Relationship Id="rId7" Type="http://schemas.openxmlformats.org/officeDocument/2006/relationships/tags" Target="../tags/tag176.xml"/><Relationship Id="rId12" Type="http://schemas.openxmlformats.org/officeDocument/2006/relationships/image" Target="../media/image2.png"/><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tags" Target="../tags/tag175.xml"/><Relationship Id="rId11" Type="http://schemas.openxmlformats.org/officeDocument/2006/relationships/image" Target="../media/image3.emf"/><Relationship Id="rId5" Type="http://schemas.openxmlformats.org/officeDocument/2006/relationships/tags" Target="../tags/tag174.xml"/><Relationship Id="rId10" Type="http://schemas.openxmlformats.org/officeDocument/2006/relationships/oleObject" Target="../embeddings/oleObject25.bin"/><Relationship Id="rId4" Type="http://schemas.openxmlformats.org/officeDocument/2006/relationships/tags" Target="../tags/tag173.xml"/><Relationship Id="rId9"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185.xml"/><Relationship Id="rId3" Type="http://schemas.openxmlformats.org/officeDocument/2006/relationships/tags" Target="../tags/tag180.xml"/><Relationship Id="rId7" Type="http://schemas.openxmlformats.org/officeDocument/2006/relationships/tags" Target="../tags/tag184.xml"/><Relationship Id="rId12" Type="http://schemas.openxmlformats.org/officeDocument/2006/relationships/image" Target="../media/image2.png"/><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tags" Target="../tags/tag183.xml"/><Relationship Id="rId11" Type="http://schemas.openxmlformats.org/officeDocument/2006/relationships/image" Target="../media/image1.emf"/><Relationship Id="rId5" Type="http://schemas.openxmlformats.org/officeDocument/2006/relationships/tags" Target="../tags/tag182.xml"/><Relationship Id="rId10" Type="http://schemas.openxmlformats.org/officeDocument/2006/relationships/oleObject" Target="../embeddings/oleObject26.bin"/><Relationship Id="rId4" Type="http://schemas.openxmlformats.org/officeDocument/2006/relationships/tags" Target="../tags/tag181.xml"/><Relationship Id="rId9"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193.xml"/><Relationship Id="rId3" Type="http://schemas.openxmlformats.org/officeDocument/2006/relationships/tags" Target="../tags/tag188.xml"/><Relationship Id="rId7" Type="http://schemas.openxmlformats.org/officeDocument/2006/relationships/tags" Target="../tags/tag192.xml"/><Relationship Id="rId12" Type="http://schemas.openxmlformats.org/officeDocument/2006/relationships/image" Target="../media/image2.png"/><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tags" Target="../tags/tag191.xml"/><Relationship Id="rId11" Type="http://schemas.openxmlformats.org/officeDocument/2006/relationships/image" Target="../media/image3.emf"/><Relationship Id="rId5" Type="http://schemas.openxmlformats.org/officeDocument/2006/relationships/tags" Target="../tags/tag190.xml"/><Relationship Id="rId10" Type="http://schemas.openxmlformats.org/officeDocument/2006/relationships/oleObject" Target="../embeddings/oleObject27.bin"/><Relationship Id="rId4" Type="http://schemas.openxmlformats.org/officeDocument/2006/relationships/tags" Target="../tags/tag189.xml"/><Relationship Id="rId9"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01.xml"/><Relationship Id="rId13" Type="http://schemas.microsoft.com/office/2007/relationships/hdphoto" Target="../media/hdphoto1.wdp"/><Relationship Id="rId3" Type="http://schemas.openxmlformats.org/officeDocument/2006/relationships/tags" Target="../tags/tag196.xml"/><Relationship Id="rId7" Type="http://schemas.openxmlformats.org/officeDocument/2006/relationships/tags" Target="../tags/tag200.xml"/><Relationship Id="rId12" Type="http://schemas.openxmlformats.org/officeDocument/2006/relationships/image" Target="../media/image7.png"/><Relationship Id="rId2" Type="http://schemas.openxmlformats.org/officeDocument/2006/relationships/tags" Target="../tags/tag195.xml"/><Relationship Id="rId1" Type="http://schemas.openxmlformats.org/officeDocument/2006/relationships/tags" Target="../tags/tag194.xml"/><Relationship Id="rId6" Type="http://schemas.openxmlformats.org/officeDocument/2006/relationships/tags" Target="../tags/tag199.xml"/><Relationship Id="rId11" Type="http://schemas.openxmlformats.org/officeDocument/2006/relationships/image" Target="../media/image3.emf"/><Relationship Id="rId5" Type="http://schemas.openxmlformats.org/officeDocument/2006/relationships/tags" Target="../tags/tag198.xml"/><Relationship Id="rId10" Type="http://schemas.openxmlformats.org/officeDocument/2006/relationships/oleObject" Target="../embeddings/oleObject28.bin"/><Relationship Id="rId4" Type="http://schemas.openxmlformats.org/officeDocument/2006/relationships/tags" Target="../tags/tag197.xml"/><Relationship Id="rId9"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09.xml"/><Relationship Id="rId13" Type="http://schemas.microsoft.com/office/2007/relationships/hdphoto" Target="../media/hdphoto1.wdp"/><Relationship Id="rId3" Type="http://schemas.openxmlformats.org/officeDocument/2006/relationships/tags" Target="../tags/tag204.xml"/><Relationship Id="rId7" Type="http://schemas.openxmlformats.org/officeDocument/2006/relationships/tags" Target="../tags/tag208.xml"/><Relationship Id="rId12" Type="http://schemas.openxmlformats.org/officeDocument/2006/relationships/image" Target="../media/image7.png"/><Relationship Id="rId2" Type="http://schemas.openxmlformats.org/officeDocument/2006/relationships/tags" Target="../tags/tag203.xml"/><Relationship Id="rId1" Type="http://schemas.openxmlformats.org/officeDocument/2006/relationships/tags" Target="../tags/tag202.xml"/><Relationship Id="rId6" Type="http://schemas.openxmlformats.org/officeDocument/2006/relationships/tags" Target="../tags/tag207.xml"/><Relationship Id="rId11" Type="http://schemas.openxmlformats.org/officeDocument/2006/relationships/image" Target="../media/image1.emf"/><Relationship Id="rId5" Type="http://schemas.openxmlformats.org/officeDocument/2006/relationships/tags" Target="../tags/tag206.xml"/><Relationship Id="rId10" Type="http://schemas.openxmlformats.org/officeDocument/2006/relationships/oleObject" Target="../embeddings/oleObject29.bin"/><Relationship Id="rId4" Type="http://schemas.openxmlformats.org/officeDocument/2006/relationships/tags" Target="../tags/tag205.xml"/><Relationship Id="rId9"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17.xml"/><Relationship Id="rId13" Type="http://schemas.microsoft.com/office/2007/relationships/hdphoto" Target="../media/hdphoto1.wdp"/><Relationship Id="rId3" Type="http://schemas.openxmlformats.org/officeDocument/2006/relationships/tags" Target="../tags/tag212.xml"/><Relationship Id="rId7" Type="http://schemas.openxmlformats.org/officeDocument/2006/relationships/tags" Target="../tags/tag216.xml"/><Relationship Id="rId12" Type="http://schemas.openxmlformats.org/officeDocument/2006/relationships/image" Target="../media/image7.png"/><Relationship Id="rId2" Type="http://schemas.openxmlformats.org/officeDocument/2006/relationships/tags" Target="../tags/tag211.xml"/><Relationship Id="rId1" Type="http://schemas.openxmlformats.org/officeDocument/2006/relationships/tags" Target="../tags/tag210.xml"/><Relationship Id="rId6" Type="http://schemas.openxmlformats.org/officeDocument/2006/relationships/tags" Target="../tags/tag215.xml"/><Relationship Id="rId11" Type="http://schemas.openxmlformats.org/officeDocument/2006/relationships/image" Target="../media/image3.emf"/><Relationship Id="rId5" Type="http://schemas.openxmlformats.org/officeDocument/2006/relationships/tags" Target="../tags/tag214.xml"/><Relationship Id="rId10" Type="http://schemas.openxmlformats.org/officeDocument/2006/relationships/oleObject" Target="../embeddings/oleObject30.bin"/><Relationship Id="rId4" Type="http://schemas.openxmlformats.org/officeDocument/2006/relationships/tags" Target="../tags/tag213.xml"/><Relationship Id="rId9"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8" Type="http://schemas.openxmlformats.org/officeDocument/2006/relationships/oleObject" Target="../embeddings/oleObject31.bin"/><Relationship Id="rId3" Type="http://schemas.openxmlformats.org/officeDocument/2006/relationships/tags" Target="../tags/tag220.xml"/><Relationship Id="rId7" Type="http://schemas.openxmlformats.org/officeDocument/2006/relationships/slideMaster" Target="../slideMasters/slideMaster2.xml"/><Relationship Id="rId2" Type="http://schemas.openxmlformats.org/officeDocument/2006/relationships/tags" Target="../tags/tag219.xml"/><Relationship Id="rId1" Type="http://schemas.openxmlformats.org/officeDocument/2006/relationships/tags" Target="../tags/tag218.xml"/><Relationship Id="rId6" Type="http://schemas.openxmlformats.org/officeDocument/2006/relationships/tags" Target="../tags/tag223.xml"/><Relationship Id="rId11" Type="http://schemas.microsoft.com/office/2007/relationships/hdphoto" Target="../media/hdphoto1.wdp"/><Relationship Id="rId5" Type="http://schemas.openxmlformats.org/officeDocument/2006/relationships/tags" Target="../tags/tag222.xml"/><Relationship Id="rId10" Type="http://schemas.openxmlformats.org/officeDocument/2006/relationships/image" Target="../media/image7.png"/><Relationship Id="rId4" Type="http://schemas.openxmlformats.org/officeDocument/2006/relationships/tags" Target="../tags/tag221.xml"/><Relationship Id="rId9"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7.xml"/><Relationship Id="rId7"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tags" Target="../tags/tag40.xml"/><Relationship Id="rId5" Type="http://schemas.openxmlformats.org/officeDocument/2006/relationships/tags" Target="../tags/tag39.xml"/><Relationship Id="rId4" Type="http://schemas.openxmlformats.org/officeDocument/2006/relationships/tags" Target="../tags/tag38.xml"/><Relationship Id="rId9" Type="http://schemas.openxmlformats.org/officeDocument/2006/relationships/image" Target="../media/image3.emf"/></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26.xml"/><Relationship Id="rId7" Type="http://schemas.openxmlformats.org/officeDocument/2006/relationships/image" Target="../media/image3.emf"/><Relationship Id="rId2" Type="http://schemas.openxmlformats.org/officeDocument/2006/relationships/tags" Target="../tags/tag225.xml"/><Relationship Id="rId1" Type="http://schemas.openxmlformats.org/officeDocument/2006/relationships/tags" Target="../tags/tag224.xml"/><Relationship Id="rId6" Type="http://schemas.openxmlformats.org/officeDocument/2006/relationships/oleObject" Target="../embeddings/oleObject32.bin"/><Relationship Id="rId5" Type="http://schemas.openxmlformats.org/officeDocument/2006/relationships/slideMaster" Target="../slideMasters/slideMaster2.xml"/><Relationship Id="rId4" Type="http://schemas.openxmlformats.org/officeDocument/2006/relationships/tags" Target="../tags/tag227.xml"/><Relationship Id="rId9" Type="http://schemas.microsoft.com/office/2007/relationships/hdphoto" Target="../media/hdphoto1.wdp"/></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3.wdp"/><Relationship Id="rId2" Type="http://schemas.openxmlformats.org/officeDocument/2006/relationships/tags" Target="../tags/tag229.xml"/><Relationship Id="rId1" Type="http://schemas.openxmlformats.org/officeDocument/2006/relationships/tags" Target="../tags/tag228.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33.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3.xml"/><Relationship Id="rId7"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tags" Target="../tags/tag46.xml"/><Relationship Id="rId5" Type="http://schemas.openxmlformats.org/officeDocument/2006/relationships/tags" Target="../tags/tag45.xml"/><Relationship Id="rId4" Type="http://schemas.openxmlformats.org/officeDocument/2006/relationships/tags" Target="../tags/tag44.xml"/><Relationship Id="rId9" Type="http://schemas.openxmlformats.org/officeDocument/2006/relationships/image" Target="../media/image3.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9.xml"/><Relationship Id="rId7"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tags" Target="../tags/tag52.xml"/><Relationship Id="rId5" Type="http://schemas.openxmlformats.org/officeDocument/2006/relationships/tags" Target="../tags/tag51.xml"/><Relationship Id="rId10" Type="http://schemas.openxmlformats.org/officeDocument/2006/relationships/image" Target="../media/image5.png"/><Relationship Id="rId4" Type="http://schemas.openxmlformats.org/officeDocument/2006/relationships/tags" Target="../tags/tag50.xml"/><Relationship Id="rId9" Type="http://schemas.openxmlformats.org/officeDocument/2006/relationships/image" Target="../media/image3.emf"/></Relationships>
</file>

<file path=ppt/slideLayouts/_rels/slideLayout5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Master" Target="../slideMasters/slideMaster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Layouts/_rels/slideLayout51.xml.rels><?xml version="1.0" encoding="UTF-8" standalone="yes"?>
<Relationships xmlns="http://schemas.openxmlformats.org/package/2006/relationships"><Relationship Id="rId8" Type="http://schemas.openxmlformats.org/officeDocument/2006/relationships/tags" Target="../tags/tag258.xml"/><Relationship Id="rId13" Type="http://schemas.openxmlformats.org/officeDocument/2006/relationships/image" Target="../media/image15.svg"/><Relationship Id="rId3" Type="http://schemas.openxmlformats.org/officeDocument/2006/relationships/tags" Target="../tags/tag253.xml"/><Relationship Id="rId7" Type="http://schemas.openxmlformats.org/officeDocument/2006/relationships/tags" Target="../tags/tag257.xml"/><Relationship Id="rId12" Type="http://schemas.openxmlformats.org/officeDocument/2006/relationships/image" Target="../media/image14.png"/><Relationship Id="rId2" Type="http://schemas.openxmlformats.org/officeDocument/2006/relationships/tags" Target="../tags/tag252.xml"/><Relationship Id="rId1" Type="http://schemas.openxmlformats.org/officeDocument/2006/relationships/tags" Target="../tags/tag251.xml"/><Relationship Id="rId6" Type="http://schemas.openxmlformats.org/officeDocument/2006/relationships/tags" Target="../tags/tag256.xml"/><Relationship Id="rId11" Type="http://schemas.openxmlformats.org/officeDocument/2006/relationships/image" Target="../media/image13.jpeg"/><Relationship Id="rId5" Type="http://schemas.openxmlformats.org/officeDocument/2006/relationships/tags" Target="../tags/tag255.xml"/><Relationship Id="rId15" Type="http://schemas.openxmlformats.org/officeDocument/2006/relationships/image" Target="../media/image16.emf"/><Relationship Id="rId10" Type="http://schemas.openxmlformats.org/officeDocument/2006/relationships/slideMaster" Target="../slideMasters/slideMaster4.xml"/><Relationship Id="rId4" Type="http://schemas.openxmlformats.org/officeDocument/2006/relationships/tags" Target="../tags/tag254.xml"/><Relationship Id="rId9" Type="http://schemas.openxmlformats.org/officeDocument/2006/relationships/tags" Target="../tags/tag259.xml"/><Relationship Id="rId14" Type="http://schemas.openxmlformats.org/officeDocument/2006/relationships/oleObject" Target="../embeddings/oleObject36.bin"/></Relationships>
</file>

<file path=ppt/slideLayouts/_rels/slideLayout52.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262.xml"/><Relationship Id="rId7" Type="http://schemas.openxmlformats.org/officeDocument/2006/relationships/tags" Target="../tags/tag266.xml"/><Relationship Id="rId2" Type="http://schemas.openxmlformats.org/officeDocument/2006/relationships/tags" Target="../tags/tag261.xml"/><Relationship Id="rId1" Type="http://schemas.openxmlformats.org/officeDocument/2006/relationships/tags" Target="../tags/tag260.xml"/><Relationship Id="rId6" Type="http://schemas.openxmlformats.org/officeDocument/2006/relationships/tags" Target="../tags/tag265.xml"/><Relationship Id="rId5" Type="http://schemas.openxmlformats.org/officeDocument/2006/relationships/tags" Target="../tags/tag264.xml"/><Relationship Id="rId10" Type="http://schemas.openxmlformats.org/officeDocument/2006/relationships/image" Target="../media/image1.emf"/><Relationship Id="rId4" Type="http://schemas.openxmlformats.org/officeDocument/2006/relationships/tags" Target="../tags/tag263.xml"/><Relationship Id="rId9" Type="http://schemas.openxmlformats.org/officeDocument/2006/relationships/oleObject" Target="../embeddings/oleObject37.bin"/></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5" Type="http://schemas.openxmlformats.org/officeDocument/2006/relationships/tags" Target="../tags/tag57.xml"/><Relationship Id="rId10" Type="http://schemas.openxmlformats.org/officeDocument/2006/relationships/image" Target="../media/image3.emf"/><Relationship Id="rId4" Type="http://schemas.openxmlformats.org/officeDocument/2006/relationships/tags" Target="../tags/tag56.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7.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image" Target="../media/image2.pn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tags" Target="../tags/tag65.xml"/><Relationship Id="rId11" Type="http://schemas.openxmlformats.org/officeDocument/2006/relationships/image" Target="../media/image1.emf"/><Relationship Id="rId5" Type="http://schemas.openxmlformats.org/officeDocument/2006/relationships/tags" Target="../tags/tag64.xml"/><Relationship Id="rId10" Type="http://schemas.openxmlformats.org/officeDocument/2006/relationships/oleObject" Target="../embeddings/oleObject8.bin"/><Relationship Id="rId4" Type="http://schemas.openxmlformats.org/officeDocument/2006/relationships/tags" Target="../tags/tag63.xml"/><Relationship Id="rId9"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5.xml"/><Relationship Id="rId3" Type="http://schemas.openxmlformats.org/officeDocument/2006/relationships/tags" Target="../tags/tag70.xml"/><Relationship Id="rId7" Type="http://schemas.openxmlformats.org/officeDocument/2006/relationships/tags" Target="../tags/tag74.xml"/><Relationship Id="rId12" Type="http://schemas.openxmlformats.org/officeDocument/2006/relationships/image" Target="../media/image2.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image" Target="../media/image1.emf"/><Relationship Id="rId5" Type="http://schemas.openxmlformats.org/officeDocument/2006/relationships/tags" Target="../tags/tag72.xml"/><Relationship Id="rId10" Type="http://schemas.openxmlformats.org/officeDocument/2006/relationships/oleObject" Target="../embeddings/oleObject9.bin"/><Relationship Id="rId4" Type="http://schemas.openxmlformats.org/officeDocument/2006/relationships/tags" Target="../tags/tag71.xml"/><Relationship Id="rId9"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3.xml"/><Relationship Id="rId3" Type="http://schemas.openxmlformats.org/officeDocument/2006/relationships/tags" Target="../tags/tag78.xml"/><Relationship Id="rId7" Type="http://schemas.openxmlformats.org/officeDocument/2006/relationships/tags" Target="../tags/tag82.xml"/><Relationship Id="rId12" Type="http://schemas.openxmlformats.org/officeDocument/2006/relationships/image" Target="../media/image2.pn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tags" Target="../tags/tag81.xml"/><Relationship Id="rId11" Type="http://schemas.openxmlformats.org/officeDocument/2006/relationships/image" Target="../media/image1.emf"/><Relationship Id="rId5" Type="http://schemas.openxmlformats.org/officeDocument/2006/relationships/tags" Target="../tags/tag80.xml"/><Relationship Id="rId10" Type="http://schemas.openxmlformats.org/officeDocument/2006/relationships/oleObject" Target="../embeddings/oleObject10.bin"/><Relationship Id="rId4" Type="http://schemas.openxmlformats.org/officeDocument/2006/relationships/tags" Target="../tags/tag79.xml"/><Relationship Id="rId9"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655050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2FE2591C-8BA8-0985-8540-1308A3CC521E}"/>
              </a:ext>
            </a:extLst>
          </p:cNvPr>
          <p:cNvSpPr/>
          <p:nvPr userDrawn="1"/>
        </p:nvSpPr>
        <p:spPr>
          <a:xfrm>
            <a:off x="4876800" y="0"/>
            <a:ext cx="7315200" cy="6858000"/>
          </a:xfrm>
          <a:prstGeom prst="rect">
            <a:avLst/>
          </a:prstGeom>
          <a:solidFill>
            <a:srgbClr val="E6EBF0"/>
          </a:solidFill>
          <a:ln>
            <a:noFill/>
          </a:ln>
          <a:effectLst>
            <a:outerShdw blurRad="50800" dist="38100" dir="11400000" algn="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218559" y="4865691"/>
            <a:ext cx="6415088"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buNone/>
              <a:defRPr lang="en-US" sz="1400" dirty="0"/>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219700" y="4092559"/>
            <a:ext cx="641508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rtl="0">
              <a:buNone/>
              <a:defRPr lang="en-US" sz="2000" dirty="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219700" y="2617296"/>
            <a:ext cx="6415088"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rmAutofit/>
          </a:bodyPr>
          <a:lstStyle>
            <a:lvl1pPr rtl="0">
              <a:defRPr lang="en-US" sz="4400" dirty="0"/>
            </a:lvl1pPr>
          </a:lstStyle>
          <a:p>
            <a:pPr lvl="0"/>
            <a:r>
              <a:rPr lang="en-US"/>
              <a:t>Click to edit Master title style</a:t>
            </a:r>
          </a:p>
        </p:txBody>
      </p:sp>
      <p:pic>
        <p:nvPicPr>
          <p:cNvPr id="5" name="Picture 4">
            <a:extLst>
              <a:ext uri="{FF2B5EF4-FFF2-40B4-BE49-F238E27FC236}">
                <a16:creationId xmlns:a16="http://schemas.microsoft.com/office/drawing/2014/main" id="{2513ADBB-DE0F-7183-85E7-80DFC275CB78}"/>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457200" y="2495274"/>
            <a:ext cx="3989513" cy="1543326"/>
          </a:xfrm>
          <a:prstGeom prst="rect">
            <a:avLst/>
          </a:prstGeom>
        </p:spPr>
      </p:pic>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44650"/>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2125590" y="6568588"/>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99B216F7-3CA7-D235-9786-F5215D4BE6AB}"/>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DB6894EF-9EB3-FC69-0490-68F7647DA80D}"/>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CAB59841-D29D-7D84-7861-EB268CAD37F7}"/>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8" name="Straight Connector 7">
            <a:extLst>
              <a:ext uri="{FF2B5EF4-FFF2-40B4-BE49-F238E27FC236}">
                <a16:creationId xmlns:a16="http://schemas.microsoft.com/office/drawing/2014/main" id="{AA13C0B2-2F61-1FB2-0CC8-D7FC9D3C511D}"/>
              </a:ext>
            </a:extLst>
          </p:cNvPr>
          <p:cNvCxnSpPr>
            <a:cxnSpLocks/>
          </p:cNvCxnSpPr>
          <p:nvPr userDrawn="1"/>
        </p:nvCxnSpPr>
        <p:spPr>
          <a:xfrm>
            <a:off x="2125589" y="6477006"/>
            <a:ext cx="5396875"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3BE65F68-C3CB-8E8E-6234-A925A503993F}"/>
              </a:ext>
            </a:extLst>
          </p:cNvPr>
          <p:cNvGrpSpPr/>
          <p:nvPr userDrawn="1"/>
        </p:nvGrpSpPr>
        <p:grpSpPr>
          <a:xfrm>
            <a:off x="406400" y="172212"/>
            <a:ext cx="1320800" cy="518318"/>
            <a:chOff x="406400" y="243682"/>
            <a:chExt cx="1320800" cy="518318"/>
          </a:xfrm>
        </p:grpSpPr>
        <p:sp>
          <p:nvSpPr>
            <p:cNvPr id="13" name="Rectangle 12">
              <a:extLst>
                <a:ext uri="{FF2B5EF4-FFF2-40B4-BE49-F238E27FC236}">
                  <a16:creationId xmlns:a16="http://schemas.microsoft.com/office/drawing/2014/main" id="{D621CA28-BEC6-5756-44D9-63468A2C0847}"/>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4" name="Straight Connector 13">
              <a:extLst>
                <a:ext uri="{FF2B5EF4-FFF2-40B4-BE49-F238E27FC236}">
                  <a16:creationId xmlns:a16="http://schemas.microsoft.com/office/drawing/2014/main" id="{4D5E784E-6ACD-CC91-39CC-51745D27F48F}"/>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551837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44650"/>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FBF54D00-3936-44A5-ED1C-171B2B286C24}"/>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06EBDF7A-659B-013F-5F64-FD452ADFA5E2}"/>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1173593B-27CD-7616-F43E-5DBBB1F79830}"/>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7" name="Straight Connector 6">
            <a:extLst>
              <a:ext uri="{FF2B5EF4-FFF2-40B4-BE49-F238E27FC236}">
                <a16:creationId xmlns:a16="http://schemas.microsoft.com/office/drawing/2014/main" id="{410FD042-A5A5-E9CF-CA2E-B1306994ADA7}"/>
              </a:ext>
            </a:extLst>
          </p:cNvPr>
          <p:cNvCxnSpPr>
            <a:cxnSpLocks/>
          </p:cNvCxnSpPr>
          <p:nvPr userDrawn="1"/>
        </p:nvCxnSpPr>
        <p:spPr>
          <a:xfrm>
            <a:off x="2125589" y="6477006"/>
            <a:ext cx="634785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05843DF7-A55C-6964-9FB5-DD493C45C777}"/>
              </a:ext>
            </a:extLst>
          </p:cNvPr>
          <p:cNvGrpSpPr/>
          <p:nvPr userDrawn="1"/>
        </p:nvGrpSpPr>
        <p:grpSpPr>
          <a:xfrm>
            <a:off x="406400" y="172212"/>
            <a:ext cx="1320800" cy="518318"/>
            <a:chOff x="406400" y="243682"/>
            <a:chExt cx="1320800" cy="518318"/>
          </a:xfrm>
        </p:grpSpPr>
        <p:sp>
          <p:nvSpPr>
            <p:cNvPr id="12" name="Rectangle 11">
              <a:extLst>
                <a:ext uri="{FF2B5EF4-FFF2-40B4-BE49-F238E27FC236}">
                  <a16:creationId xmlns:a16="http://schemas.microsoft.com/office/drawing/2014/main" id="{A0A3F031-A569-D187-DA19-4C9FA609E787}"/>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3" name="Straight Connector 12">
              <a:extLst>
                <a:ext uri="{FF2B5EF4-FFF2-40B4-BE49-F238E27FC236}">
                  <a16:creationId xmlns:a16="http://schemas.microsoft.com/office/drawing/2014/main" id="{3A151E27-707E-3A37-71D4-6CB82B6D0694}"/>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103681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751777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2A02941-735B-29F4-9374-02A67A749217}"/>
              </a:ext>
            </a:extLst>
          </p:cNvPr>
          <p:cNvSpPr/>
          <p:nvPr userDrawn="1"/>
        </p:nvSpPr>
        <p:spPr>
          <a:xfrm>
            <a:off x="11379203" y="6477005"/>
            <a:ext cx="711199" cy="381001"/>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6" name="Rectangle 5">
            <a:extLst>
              <a:ext uri="{FF2B5EF4-FFF2-40B4-BE49-F238E27FC236}">
                <a16:creationId xmlns:a16="http://schemas.microsoft.com/office/drawing/2014/main" id="{7904EA1B-806C-8140-4087-2F746295969D}"/>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7" name="Straight Connector 6">
            <a:extLst>
              <a:ext uri="{FF2B5EF4-FFF2-40B4-BE49-F238E27FC236}">
                <a16:creationId xmlns:a16="http://schemas.microsoft.com/office/drawing/2014/main" id="{F67739A3-32AA-CF30-FECE-26E9DC89F796}"/>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2C62AD20-C9BA-5F86-0685-FCD8870FBAED}"/>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11" name="TextBox 10">
            <a:extLst>
              <a:ext uri="{FF2B5EF4-FFF2-40B4-BE49-F238E27FC236}">
                <a16:creationId xmlns:a16="http://schemas.microsoft.com/office/drawing/2014/main" id="{D39F79E6-6C4E-90C8-70DE-9C983C4A4006}"/>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12" name="Straight Connector 11">
            <a:extLst>
              <a:ext uri="{FF2B5EF4-FFF2-40B4-BE49-F238E27FC236}">
                <a16:creationId xmlns:a16="http://schemas.microsoft.com/office/drawing/2014/main" id="{EA1CBD39-F61F-DA1D-30F6-828460FCCB62}"/>
              </a:ext>
            </a:extLst>
          </p:cNvPr>
          <p:cNvCxnSpPr>
            <a:cxnSpLocks/>
          </p:cNvCxnSpPr>
          <p:nvPr userDrawn="1"/>
        </p:nvCxnSpPr>
        <p:spPr>
          <a:xfrm>
            <a:off x="2125589" y="6477006"/>
            <a:ext cx="1006641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2212"/>
            <a:ext cx="11082528" cy="1154162"/>
          </a:xfrm>
        </p:spPr>
        <p:txBody>
          <a:bodyPr vert="horz">
            <a:noAutofit/>
          </a:bodyPr>
          <a:lstStyle>
            <a:lvl1pPr rtl="0">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grpSp>
        <p:nvGrpSpPr>
          <p:cNvPr id="17" name="Group 16">
            <a:extLst>
              <a:ext uri="{FF2B5EF4-FFF2-40B4-BE49-F238E27FC236}">
                <a16:creationId xmlns:a16="http://schemas.microsoft.com/office/drawing/2014/main" id="{2B09F6B8-769B-A864-E547-500981F08D06}"/>
              </a:ext>
            </a:extLst>
          </p:cNvPr>
          <p:cNvGrpSpPr/>
          <p:nvPr userDrawn="1"/>
        </p:nvGrpSpPr>
        <p:grpSpPr>
          <a:xfrm>
            <a:off x="406400" y="172212"/>
            <a:ext cx="1320800" cy="518318"/>
            <a:chOff x="406400" y="243682"/>
            <a:chExt cx="1320800" cy="518318"/>
          </a:xfrm>
        </p:grpSpPr>
        <p:sp>
          <p:nvSpPr>
            <p:cNvPr id="18" name="Rectangle 17">
              <a:extLst>
                <a:ext uri="{FF2B5EF4-FFF2-40B4-BE49-F238E27FC236}">
                  <a16:creationId xmlns:a16="http://schemas.microsoft.com/office/drawing/2014/main" id="{3FED9C4D-8AC9-7C56-EAB0-E78C2331086D}"/>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9" name="Straight Connector 18">
              <a:extLst>
                <a:ext uri="{FF2B5EF4-FFF2-40B4-BE49-F238E27FC236}">
                  <a16:creationId xmlns:a16="http://schemas.microsoft.com/office/drawing/2014/main" id="{5B412C7A-6007-0E9A-8D29-F55D6BBBF979}"/>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408241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3" name="Picture 2">
            <a:extLst>
              <a:ext uri="{FF2B5EF4-FFF2-40B4-BE49-F238E27FC236}">
                <a16:creationId xmlns:a16="http://schemas.microsoft.com/office/drawing/2014/main" id="{375E8A2D-D54E-D813-F72A-F0CAB8BE7410}"/>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4" name="TextBox 3">
            <a:extLst>
              <a:ext uri="{FF2B5EF4-FFF2-40B4-BE49-F238E27FC236}">
                <a16:creationId xmlns:a16="http://schemas.microsoft.com/office/drawing/2014/main" id="{7743DE8B-4F85-F9C3-B148-488A92D2E93D}"/>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3" name="Picture 2">
            <a:extLst>
              <a:ext uri="{FF2B5EF4-FFF2-40B4-BE49-F238E27FC236}">
                <a16:creationId xmlns:a16="http://schemas.microsoft.com/office/drawing/2014/main" id="{BE91F0BA-6E3D-F62E-4ABF-446AAB4EFF14}"/>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101243" y="2657337"/>
            <a:ext cx="3989513" cy="1543326"/>
          </a:xfrm>
          <a:prstGeom prst="rect">
            <a:avLst/>
          </a:prstGeom>
        </p:spPr>
      </p:pic>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1129181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01ABBFBE-956E-6B56-E4D2-F7A5D9C2CDE6}"/>
              </a:ext>
            </a:extLst>
          </p:cNvPr>
          <p:cNvSpPr/>
          <p:nvPr userDrawn="1"/>
        </p:nvSpPr>
        <p:spPr>
          <a:xfrm>
            <a:off x="4876800" y="0"/>
            <a:ext cx="7315200" cy="6858000"/>
          </a:xfrm>
          <a:prstGeom prst="rect">
            <a:avLst/>
          </a:prstGeom>
          <a:solidFill>
            <a:schemeClr val="bg1"/>
          </a:solidFill>
          <a:ln>
            <a:noFill/>
          </a:ln>
          <a:effectLst>
            <a:outerShdw blurRad="50800" dist="38100" dir="11400000" algn="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Documenttype">
            <a:extLst>
              <a:ext uri="{FF2B5EF4-FFF2-40B4-BE49-F238E27FC236}">
                <a16:creationId xmlns:a16="http://schemas.microsoft.com/office/drawing/2014/main" id="{15828E83-1A38-4079-BBBD-A0570B5821FE}"/>
              </a:ext>
            </a:extLst>
          </p:cNvPr>
          <p:cNvSpPr>
            <a:spLocks noGrp="1"/>
          </p:cNvSpPr>
          <p:nvPr>
            <p:ph type="body" sz="quarter" idx="13" hasCustomPrompt="1"/>
            <p:custDataLst>
              <p:tags r:id="rId2"/>
            </p:custDataLst>
          </p:nvPr>
        </p:nvSpPr>
        <p:spPr>
          <a:xfrm>
            <a:off x="5218559" y="4865691"/>
            <a:ext cx="6415088" cy="215444"/>
          </a:xfrm>
          <a:prstGeom prst="rect">
            <a:avLst/>
          </a:prstGeom>
        </p:spPr>
        <p:txBody>
          <a:bodyPr vert="horz" wrap="square" lIns="0" tIns="0" rIns="0" bIns="0" rtlCol="0">
            <a:spAutoFit/>
          </a:bodyPr>
          <a:lstStyle>
            <a:lvl1pPr rtl="0">
              <a:buNone/>
              <a:defRPr lang="en-US" sz="1400" dirty="0"/>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buNone/>
            </a:pPr>
            <a:r>
              <a:rPr lang="en-US"/>
              <a:t>Edit date or title/role</a:t>
            </a:r>
          </a:p>
        </p:txBody>
      </p:sp>
      <p:sp>
        <p:nvSpPr>
          <p:cNvPr id="15" name="Subtitle">
            <a:extLst>
              <a:ext uri="{FF2B5EF4-FFF2-40B4-BE49-F238E27FC236}">
                <a16:creationId xmlns:a16="http://schemas.microsoft.com/office/drawing/2014/main" id="{FB8F0DBF-6DF4-4080-8ADE-3065F84D7602}"/>
              </a:ext>
            </a:extLst>
          </p:cNvPr>
          <p:cNvSpPr>
            <a:spLocks noGrp="1"/>
          </p:cNvSpPr>
          <p:nvPr>
            <p:ph type="subTitle" idx="1"/>
            <p:custDataLst>
              <p:tags r:id="rId3"/>
            </p:custDataLst>
          </p:nvPr>
        </p:nvSpPr>
        <p:spPr>
          <a:xfrm>
            <a:off x="5219700" y="4092559"/>
            <a:ext cx="6415088" cy="307777"/>
          </a:xfrm>
          <a:prstGeom prst="rect">
            <a:avLst/>
          </a:prstGeom>
        </p:spPr>
        <p:txBody>
          <a:bodyPr vert="horz" wrap="square" lIns="0" tIns="0" rIns="0" bIns="0" rtlCol="0">
            <a:spAutoFit/>
          </a:bodyPr>
          <a:lstStyle>
            <a:lvl1pPr marL="0" indent="0" algn="l" rtl="0">
              <a:buNone/>
              <a:defRPr lang="en-US" sz="2000" dirty="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buNone/>
            </a:pPr>
            <a:r>
              <a:rPr lang="en-US"/>
              <a:t>Click to edit Master subtitle style</a:t>
            </a:r>
          </a:p>
        </p:txBody>
      </p:sp>
      <p:sp>
        <p:nvSpPr>
          <p:cNvPr id="18" name="Title">
            <a:extLst>
              <a:ext uri="{FF2B5EF4-FFF2-40B4-BE49-F238E27FC236}">
                <a16:creationId xmlns:a16="http://schemas.microsoft.com/office/drawing/2014/main" id="{46FFFED1-69E7-44C0-86EC-45A8A36DB3EC}"/>
              </a:ext>
            </a:extLst>
          </p:cNvPr>
          <p:cNvSpPr>
            <a:spLocks noGrp="1"/>
          </p:cNvSpPr>
          <p:nvPr>
            <p:ph type="title"/>
            <p:custDataLst>
              <p:tags r:id="rId4"/>
            </p:custDataLst>
          </p:nvPr>
        </p:nvSpPr>
        <p:spPr>
          <a:xfrm>
            <a:off x="5219700" y="2617296"/>
            <a:ext cx="6415088" cy="1354217"/>
          </a:xfrm>
          <a:prstGeom prst="rect">
            <a:avLst/>
          </a:prstGeom>
        </p:spPr>
        <p:txBody>
          <a:bodyPr vert="horz" wrap="square" lIns="0" tIns="0" rIns="0" bIns="0" rtlCol="0" anchor="b" anchorCtr="0">
            <a:normAutofit/>
          </a:bodyPr>
          <a:lstStyle>
            <a:lvl1pPr rtl="0">
              <a:defRPr lang="en-US" sz="4400" dirty="0"/>
            </a:lvl1pPr>
          </a:lstStyle>
          <a:p>
            <a:pPr lvl="0"/>
            <a:r>
              <a:rPr lang="en-US"/>
              <a:t>Click to edit Master title style</a:t>
            </a:r>
          </a:p>
        </p:txBody>
      </p:sp>
      <p:pic>
        <p:nvPicPr>
          <p:cNvPr id="2" name="Picture 1">
            <a:extLst>
              <a:ext uri="{FF2B5EF4-FFF2-40B4-BE49-F238E27FC236}">
                <a16:creationId xmlns:a16="http://schemas.microsoft.com/office/drawing/2014/main" id="{2ED50DE4-AE8E-B30D-8E44-8498C5C0D9E0}"/>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457200" y="2495274"/>
            <a:ext cx="3989513" cy="1543326"/>
          </a:xfrm>
          <a:prstGeom prst="rect">
            <a:avLst/>
          </a:prstGeom>
        </p:spPr>
      </p:pic>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974828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172212"/>
            <a:ext cx="11082528" cy="731520"/>
          </a:xfrm>
        </p:spPr>
        <p:txBody>
          <a:bodyPr vert="horz" wrap="square" lIns="0" tIns="0" rIns="0" bIns="0" rtlCol="0" anchor="t" anchorCtr="0">
            <a:noAutofit/>
          </a:bodyPr>
          <a:lstStyle>
            <a:lvl1pPr rtl="0">
              <a:defRPr lang="en-US" dirty="0"/>
            </a:lvl1pPr>
          </a:lstStyle>
          <a:p>
            <a:pPr lvl="0"/>
            <a:r>
              <a:rPr lang="en-US"/>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9446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rtl="0">
              <a:buNone/>
              <a:defRPr lang="en-US" b="0" baseline="0" dirty="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buNone/>
            </a:pPr>
            <a:r>
              <a:rPr lang="en-US"/>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5"/>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6"/>
            </p:custDataLst>
          </p:nvPr>
        </p:nvSpPr>
        <p:spPr>
          <a:xfrm>
            <a:off x="2125590" y="656858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7"/>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1103764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1019295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29A5BC72-B58B-4282-B0EA-EE79CC589D7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235955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2A6BF6C9-3B6D-A6BC-641E-3D41A636D90C}"/>
              </a:ext>
            </a:extLst>
          </p:cNvPr>
          <p:cNvSpPr/>
          <p:nvPr userDrawn="1"/>
        </p:nvSpPr>
        <p:spPr bwMode="white">
          <a:xfrm>
            <a:off x="3176" y="0"/>
            <a:ext cx="12188824" cy="6858006"/>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7" name="Rectangle 16">
            <a:extLst>
              <a:ext uri="{FF2B5EF4-FFF2-40B4-BE49-F238E27FC236}">
                <a16:creationId xmlns:a16="http://schemas.microsoft.com/office/drawing/2014/main" id="{B4F0EA5F-6060-6315-DD1F-36CB5152948F}"/>
              </a:ext>
            </a:extLst>
          </p:cNvPr>
          <p:cNvSpPr/>
          <p:nvPr userDrawn="1"/>
        </p:nvSpPr>
        <p:spPr>
          <a:xfrm>
            <a:off x="11379203" y="6477005"/>
            <a:ext cx="711199" cy="3810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18" name="Rectangle 17">
            <a:extLst>
              <a:ext uri="{FF2B5EF4-FFF2-40B4-BE49-F238E27FC236}">
                <a16:creationId xmlns:a16="http://schemas.microsoft.com/office/drawing/2014/main" id="{0C0D8C1B-1778-E6D9-AA22-578258348FB6}"/>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pic>
        <p:nvPicPr>
          <p:cNvPr id="11" name="Picture 10">
            <a:extLst>
              <a:ext uri="{FF2B5EF4-FFF2-40B4-BE49-F238E27FC236}">
                <a16:creationId xmlns:a16="http://schemas.microsoft.com/office/drawing/2014/main" id="{8B4D6766-2E1D-D5DC-5F05-AC3EC871F4BD}"/>
              </a:ext>
            </a:extLst>
          </p:cNvPr>
          <p:cNvPicPr>
            <a:picLocks noChangeAspect="1"/>
          </p:cNvPicPr>
          <p:nvPr userDrawn="1"/>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bwMode="black">
          <a:xfrm>
            <a:off x="194035" y="5382386"/>
            <a:ext cx="1253765" cy="485014"/>
          </a:xfrm>
          <a:prstGeom prst="rect">
            <a:avLst/>
          </a:prstGeom>
        </p:spPr>
      </p:pic>
      <p:cxnSp>
        <p:nvCxnSpPr>
          <p:cNvPr id="12" name="Straight Connector 11">
            <a:extLst>
              <a:ext uri="{FF2B5EF4-FFF2-40B4-BE49-F238E27FC236}">
                <a16:creationId xmlns:a16="http://schemas.microsoft.com/office/drawing/2014/main" id="{19F9D632-D71D-321A-F8FA-42970EABDF95}"/>
              </a:ext>
            </a:extLst>
          </p:cNvPr>
          <p:cNvCxnSpPr>
            <a:cxnSpLocks/>
          </p:cNvCxnSpPr>
          <p:nvPr userDrawn="1"/>
        </p:nvCxnSpPr>
        <p:spPr>
          <a:xfrm>
            <a:off x="779283" y="6"/>
            <a:ext cx="0" cy="518159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19AFCB8-C4C0-B495-CE85-E2CA75B9D6C0}"/>
              </a:ext>
            </a:extLst>
          </p:cNvPr>
          <p:cNvCxnSpPr>
            <a:cxnSpLocks/>
          </p:cNvCxnSpPr>
          <p:nvPr userDrawn="1"/>
        </p:nvCxnSpPr>
        <p:spPr>
          <a:xfrm>
            <a:off x="779282" y="5943600"/>
            <a:ext cx="0" cy="5334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A29BD83-CDDC-657C-6A05-5776C00D3AD3}"/>
              </a:ext>
            </a:extLst>
          </p:cNvPr>
          <p:cNvCxnSpPr>
            <a:cxnSpLocks/>
          </p:cNvCxnSpPr>
          <p:nvPr userDrawn="1"/>
        </p:nvCxnSpPr>
        <p:spPr>
          <a:xfrm>
            <a:off x="779282" y="6477005"/>
            <a:ext cx="1141271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A44775BD-D07B-6198-5E05-2A33FAF3D2BA}"/>
              </a:ext>
            </a:extLst>
          </p:cNvPr>
          <p:cNvSpPr txBox="1"/>
          <p:nvPr userDrawn="1"/>
        </p:nvSpPr>
        <p:spPr>
          <a:xfrm>
            <a:off x="685800" y="6553200"/>
            <a:ext cx="935921" cy="246221"/>
          </a:xfrm>
          <a:prstGeom prst="rect">
            <a:avLst/>
          </a:prstGeom>
          <a:noFill/>
        </p:spPr>
        <p:txBody>
          <a:bodyPr wrap="square" rtlCol="0">
            <a:spAutoFit/>
          </a:bodyPr>
          <a:lstStyle/>
          <a:p>
            <a:pPr>
              <a:buClr>
                <a:schemeClr val="tx1"/>
              </a:buClr>
            </a:pPr>
            <a:r>
              <a:rPr lang="en-US" sz="1000" b="1">
                <a:solidFill>
                  <a:schemeClr val="tx1"/>
                </a:solidFill>
              </a:rPr>
              <a:t>PUBLIC</a:t>
            </a:r>
          </a:p>
        </p:txBody>
      </p:sp>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1117601" y="4061922"/>
            <a:ext cx="10519663" cy="677108"/>
          </a:xfrm>
        </p:spPr>
        <p:txBody>
          <a:bodyPr vert="horz" anchor="b">
            <a:noAutofit/>
          </a:bodyPr>
          <a:lstStyle>
            <a:lvl1pPr rtl="0">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9" name="1. On-page tracker">
            <a:extLst>
              <a:ext uri="{FF2B5EF4-FFF2-40B4-BE49-F238E27FC236}">
                <a16:creationId xmlns:a16="http://schemas.microsoft.com/office/drawing/2014/main" id="{8F89071A-FCD4-4931-B959-81108D770B1E}"/>
              </a:ext>
            </a:extLst>
          </p:cNvPr>
          <p:cNvSpPr>
            <a:spLocks noGrp="1"/>
          </p:cNvSpPr>
          <p:nvPr>
            <p:ph type="body" sz="quarter" idx="10" hasCustomPrompt="1"/>
            <p:custDataLst>
              <p:tags r:id="rId6"/>
            </p:custDataLst>
          </p:nvPr>
        </p:nvSpPr>
        <p:spPr>
          <a:xfrm>
            <a:off x="1117601"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588639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446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rtl="0">
              <a:buNone/>
              <a:defRPr lang="en-US" b="0" baseline="0" dirty="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2125590" y="656858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1082528" cy="731520"/>
          </a:xfrm>
          <a:prstGeom prst="rect">
            <a:avLst/>
          </a:prstGeom>
        </p:spPr>
        <p:txBody>
          <a:bodyPr vert="horz" wrap="square" lIns="0" tIns="0" rIns="0" bIns="0" rtlCol="0" anchor="t" anchorCtr="0">
            <a:noAutofit/>
          </a:bodyPr>
          <a:lstStyle>
            <a:lvl1pPr>
              <a:defRPr lang="en-US" dirty="0">
                <a:solidFill>
                  <a:schemeClr val="accent1"/>
                </a:solidFill>
              </a:defRPr>
            </a:lvl1pPr>
          </a:lstStyle>
          <a:p>
            <a:pPr lvl="0"/>
            <a:r>
              <a:rPr lang="en-US"/>
              <a:t>Click to edit Master title style</a:t>
            </a:r>
          </a:p>
        </p:txBody>
      </p:sp>
      <p:grpSp>
        <p:nvGrpSpPr>
          <p:cNvPr id="102" name="Group 101">
            <a:extLst>
              <a:ext uri="{FF2B5EF4-FFF2-40B4-BE49-F238E27FC236}">
                <a16:creationId xmlns:a16="http://schemas.microsoft.com/office/drawing/2014/main" id="{2D3EB5BE-E526-D7F3-6384-601B149F7968}"/>
              </a:ext>
            </a:extLst>
          </p:cNvPr>
          <p:cNvGrpSpPr/>
          <p:nvPr userDrawn="1"/>
        </p:nvGrpSpPr>
        <p:grpSpPr>
          <a:xfrm>
            <a:off x="406400" y="172212"/>
            <a:ext cx="1320800" cy="518318"/>
            <a:chOff x="406400" y="243682"/>
            <a:chExt cx="1320800" cy="518318"/>
          </a:xfrm>
        </p:grpSpPr>
        <p:sp>
          <p:nvSpPr>
            <p:cNvPr id="103" name="Rectangle 102">
              <a:extLst>
                <a:ext uri="{FF2B5EF4-FFF2-40B4-BE49-F238E27FC236}">
                  <a16:creationId xmlns:a16="http://schemas.microsoft.com/office/drawing/2014/main" id="{4A0D9055-DC0D-9E77-B768-C3580F5E6A74}"/>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04" name="Straight Connector 103">
              <a:extLst>
                <a:ext uri="{FF2B5EF4-FFF2-40B4-BE49-F238E27FC236}">
                  <a16:creationId xmlns:a16="http://schemas.microsoft.com/office/drawing/2014/main" id="{782CA480-C55E-5542-4BD5-6E120116E6D2}"/>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extLst>
              <p:ext uri="{D42A27DB-BD31-4B8C-83A1-F6EECF244321}">
                <p14:modId xmlns:p14="http://schemas.microsoft.com/office/powerpoint/2010/main" val="1017719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5"/>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6"/>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878CBA30-A797-424E-A56B-F43F015ECE96}"/>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3031445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5"/>
            </p:custDataLst>
          </p:nvPr>
        </p:nvSpPr>
        <p:spPr>
          <a:xfrm>
            <a:off x="554736" y="2744369"/>
            <a:ext cx="2514600" cy="769441"/>
          </a:xfrm>
        </p:spPr>
        <p:txBody>
          <a:bodyPr vert="horz" anchor="b">
            <a:noAutofit/>
          </a:bodyPr>
          <a:lstStyle>
            <a:lvl1pPr rtl="0">
              <a:defRPr>
                <a:solidFill>
                  <a:schemeClr val="accent2"/>
                </a:solidFill>
              </a:defRPr>
            </a:lvl1pPr>
          </a:lstStyle>
          <a:p>
            <a:r>
              <a:rPr lang="en-US"/>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bg2"/>
                </a:solidFill>
              </a:rPr>
              <a:t>Source: …</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79D47193-B762-116E-3906-F0EF689E053F}"/>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7BA72964-A5AB-5669-DE3B-D223B80C32F4}"/>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7" name="TextBox 6">
            <a:extLst>
              <a:ext uri="{FF2B5EF4-FFF2-40B4-BE49-F238E27FC236}">
                <a16:creationId xmlns:a16="http://schemas.microsoft.com/office/drawing/2014/main" id="{C83A4A07-CAF4-8A30-1CB9-5E6D164FAA6E}"/>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sz="1000" b="1">
                <a:solidFill>
                  <a:schemeClr val="tx2"/>
                </a:solidFill>
                <a:cs typeface="+mn-cs"/>
              </a:rPr>
              <a:t>PUBLIC</a:t>
            </a:r>
          </a:p>
        </p:txBody>
      </p:sp>
      <p:cxnSp>
        <p:nvCxnSpPr>
          <p:cNvPr id="8" name="Straight Connector 7">
            <a:extLst>
              <a:ext uri="{FF2B5EF4-FFF2-40B4-BE49-F238E27FC236}">
                <a16:creationId xmlns:a16="http://schemas.microsoft.com/office/drawing/2014/main" id="{39AA5B76-E5AC-A58A-6B1A-72605467A4E2}"/>
              </a:ext>
            </a:extLst>
          </p:cNvPr>
          <p:cNvCxnSpPr>
            <a:cxnSpLocks/>
          </p:cNvCxnSpPr>
          <p:nvPr userDrawn="1"/>
        </p:nvCxnSpPr>
        <p:spPr>
          <a:xfrm>
            <a:off x="2125589" y="6477006"/>
            <a:ext cx="943747"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98185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3620063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rtl="0">
              <a:defRPr>
                <a:solidFill>
                  <a:schemeClr val="accent2"/>
                </a:solidFill>
              </a:defRPr>
            </a:lvl1pPr>
          </a:lstStyle>
          <a:p>
            <a:r>
              <a:rPr lang="en-US"/>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bg2"/>
                </a:solidFill>
              </a:rPr>
              <a:t>Source: …</a:t>
            </a:r>
          </a:p>
        </p:txBody>
      </p:sp>
      <p:sp>
        <p:nvSpPr>
          <p:cNvPr id="10" name="1. On-page tracker">
            <a:extLst>
              <a:ext uri="{FF2B5EF4-FFF2-40B4-BE49-F238E27FC236}">
                <a16:creationId xmlns:a16="http://schemas.microsoft.com/office/drawing/2014/main" id="{2635D98B-97DC-4A80-82A3-A8B3C701B736}"/>
              </a:ext>
            </a:extLst>
          </p:cNvPr>
          <p:cNvSpPr>
            <a:spLocks noGrp="1"/>
          </p:cNvSpPr>
          <p:nvPr>
            <p:ph type="body" sz="quarter" idx="10" hasCustomPrompt="1"/>
            <p:custDataLst>
              <p:tags r:id="rId8"/>
            </p:custDataLst>
          </p:nvPr>
        </p:nvSpPr>
        <p:spPr>
          <a:xfrm>
            <a:off x="554735" y="41597"/>
            <a:ext cx="3465575"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cxnSp>
        <p:nvCxnSpPr>
          <p:cNvPr id="3" name="Straight Connector 2">
            <a:extLst>
              <a:ext uri="{FF2B5EF4-FFF2-40B4-BE49-F238E27FC236}">
                <a16:creationId xmlns:a16="http://schemas.microsoft.com/office/drawing/2014/main" id="{CA5A7727-5AB1-79A1-A56D-4A2DE5EC63AB}"/>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1C07BE2D-8A78-BAF3-C818-EF920963DCFD}"/>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7" name="TextBox 6">
            <a:extLst>
              <a:ext uri="{FF2B5EF4-FFF2-40B4-BE49-F238E27FC236}">
                <a16:creationId xmlns:a16="http://schemas.microsoft.com/office/drawing/2014/main" id="{7B6AAB35-A5C0-35F4-9AA4-58524F268659}"/>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sz="1000" b="1">
                <a:solidFill>
                  <a:schemeClr val="tx2"/>
                </a:solidFill>
                <a:cs typeface="+mn-cs"/>
              </a:rPr>
              <a:t>PUBLIC</a:t>
            </a:r>
          </a:p>
        </p:txBody>
      </p:sp>
      <p:cxnSp>
        <p:nvCxnSpPr>
          <p:cNvPr id="8" name="Straight Connector 7">
            <a:extLst>
              <a:ext uri="{FF2B5EF4-FFF2-40B4-BE49-F238E27FC236}">
                <a16:creationId xmlns:a16="http://schemas.microsoft.com/office/drawing/2014/main" id="{F76218C6-EA2A-D651-4E9F-F68C6D522C57}"/>
              </a:ext>
            </a:extLst>
          </p:cNvPr>
          <p:cNvCxnSpPr>
            <a:cxnSpLocks/>
          </p:cNvCxnSpPr>
          <p:nvPr userDrawn="1"/>
        </p:nvCxnSpPr>
        <p:spPr>
          <a:xfrm>
            <a:off x="2125589" y="6477006"/>
            <a:ext cx="189472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6952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130054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5065776" cy="731520"/>
          </a:xfrm>
        </p:spPr>
        <p:txBody>
          <a:bodyPr vert="horz"/>
          <a:lstStyle>
            <a:lvl1pPr rtl="0">
              <a:defRPr>
                <a:solidFill>
                  <a:schemeClr val="accent2"/>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44650"/>
            <a:ext cx="5065776"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bg2"/>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cxnSp>
        <p:nvCxnSpPr>
          <p:cNvPr id="4" name="Straight Connector 3">
            <a:extLst>
              <a:ext uri="{FF2B5EF4-FFF2-40B4-BE49-F238E27FC236}">
                <a16:creationId xmlns:a16="http://schemas.microsoft.com/office/drawing/2014/main" id="{705BE378-9D7F-F20C-8CEB-3A7166DB9FDA}"/>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277C3B61-7BD0-0EDE-9EA3-982A1F081293}"/>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BFE86794-9927-CD0B-2130-149B8E33A34C}"/>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sz="1000" b="1">
                <a:solidFill>
                  <a:schemeClr val="tx2"/>
                </a:solidFill>
                <a:cs typeface="+mn-cs"/>
              </a:rPr>
              <a:t>PUBLIC</a:t>
            </a:r>
          </a:p>
        </p:txBody>
      </p:sp>
      <p:cxnSp>
        <p:nvCxnSpPr>
          <p:cNvPr id="8" name="Straight Connector 7">
            <a:extLst>
              <a:ext uri="{FF2B5EF4-FFF2-40B4-BE49-F238E27FC236}">
                <a16:creationId xmlns:a16="http://schemas.microsoft.com/office/drawing/2014/main" id="{FF030CC5-CA3F-1EF0-C73F-09EFBED95AC0}"/>
              </a:ext>
            </a:extLst>
          </p:cNvPr>
          <p:cNvCxnSpPr>
            <a:cxnSpLocks/>
          </p:cNvCxnSpPr>
          <p:nvPr userDrawn="1"/>
        </p:nvCxnSpPr>
        <p:spPr>
          <a:xfrm>
            <a:off x="2125589" y="6477006"/>
            <a:ext cx="3494923"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2B4F6C8E-41C3-6F09-AE88-03D31F94DFE6}"/>
              </a:ext>
            </a:extLst>
          </p:cNvPr>
          <p:cNvGrpSpPr/>
          <p:nvPr userDrawn="1"/>
        </p:nvGrpSpPr>
        <p:grpSpPr>
          <a:xfrm>
            <a:off x="406400" y="172212"/>
            <a:ext cx="1320800" cy="518318"/>
            <a:chOff x="406400" y="243682"/>
            <a:chExt cx="1320800" cy="518318"/>
          </a:xfrm>
        </p:grpSpPr>
        <p:sp>
          <p:nvSpPr>
            <p:cNvPr id="12" name="Rectangle 11">
              <a:extLst>
                <a:ext uri="{FF2B5EF4-FFF2-40B4-BE49-F238E27FC236}">
                  <a16:creationId xmlns:a16="http://schemas.microsoft.com/office/drawing/2014/main" id="{E4D6C2AE-D857-F27B-9F53-55E83C97CBA1}"/>
                </a:ext>
              </a:extLst>
            </p:cNvPr>
            <p:cNvSpPr/>
            <p:nvPr/>
          </p:nvSpPr>
          <p:spPr>
            <a:xfrm>
              <a:off x="406400" y="243682"/>
              <a:ext cx="101600" cy="5183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3" name="Straight Connector 12">
              <a:extLst>
                <a:ext uri="{FF2B5EF4-FFF2-40B4-BE49-F238E27FC236}">
                  <a16:creationId xmlns:a16="http://schemas.microsoft.com/office/drawing/2014/main" id="{69C7A4AC-C74A-FCAA-B3A0-5B6D91EB4FD4}"/>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877398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1244089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6" y="172212"/>
            <a:ext cx="6967728" cy="731520"/>
          </a:xfrm>
        </p:spPr>
        <p:txBody>
          <a:bodyPr vert="horz"/>
          <a:lstStyle>
            <a:lvl1pPr rtl="0">
              <a:defRPr>
                <a:solidFill>
                  <a:schemeClr val="accent2"/>
                </a:solidFill>
              </a:defRPr>
            </a:lvl1pPr>
          </a:lstStyle>
          <a:p>
            <a:r>
              <a:rPr lang="en-US"/>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6"/>
            </p:custDataLst>
          </p:nvPr>
        </p:nvSpPr>
        <p:spPr>
          <a:xfrm>
            <a:off x="554736" y="944650"/>
            <a:ext cx="6967728"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7"/>
            </p:custDataLst>
          </p:nvPr>
        </p:nvSpPr>
        <p:spPr>
          <a:xfrm>
            <a:off x="2125590" y="6568588"/>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bg2"/>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0C4571D9-ABE1-532E-BE19-A3F0F46BBE10}"/>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E9927D69-0B7D-09E9-12D5-A5A68682BBBF}"/>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5E37F3AC-6301-9861-14CC-FD8911A87C5E}"/>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sz="1000" b="1">
                <a:solidFill>
                  <a:schemeClr val="tx2"/>
                </a:solidFill>
                <a:cs typeface="+mn-cs"/>
              </a:rPr>
              <a:t>PUBLIC</a:t>
            </a:r>
          </a:p>
        </p:txBody>
      </p:sp>
      <p:cxnSp>
        <p:nvCxnSpPr>
          <p:cNvPr id="8" name="Straight Connector 7">
            <a:extLst>
              <a:ext uri="{FF2B5EF4-FFF2-40B4-BE49-F238E27FC236}">
                <a16:creationId xmlns:a16="http://schemas.microsoft.com/office/drawing/2014/main" id="{B3604FD3-A713-996F-F520-5FDE0D975617}"/>
              </a:ext>
            </a:extLst>
          </p:cNvPr>
          <p:cNvCxnSpPr>
            <a:cxnSpLocks/>
          </p:cNvCxnSpPr>
          <p:nvPr userDrawn="1"/>
        </p:nvCxnSpPr>
        <p:spPr>
          <a:xfrm>
            <a:off x="2125589" y="6477006"/>
            <a:ext cx="5396875"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999E597B-848E-32D4-BE42-D7979B0A3583}"/>
              </a:ext>
            </a:extLst>
          </p:cNvPr>
          <p:cNvGrpSpPr/>
          <p:nvPr userDrawn="1"/>
        </p:nvGrpSpPr>
        <p:grpSpPr>
          <a:xfrm>
            <a:off x="406400" y="172212"/>
            <a:ext cx="1320800" cy="518318"/>
            <a:chOff x="406400" y="243682"/>
            <a:chExt cx="1320800" cy="518318"/>
          </a:xfrm>
        </p:grpSpPr>
        <p:sp>
          <p:nvSpPr>
            <p:cNvPr id="12" name="Rectangle 11">
              <a:extLst>
                <a:ext uri="{FF2B5EF4-FFF2-40B4-BE49-F238E27FC236}">
                  <a16:creationId xmlns:a16="http://schemas.microsoft.com/office/drawing/2014/main" id="{DA4FD8FE-1BD4-07E4-0D55-52EA4D4B80A6}"/>
                </a:ext>
              </a:extLst>
            </p:cNvPr>
            <p:cNvSpPr/>
            <p:nvPr/>
          </p:nvSpPr>
          <p:spPr>
            <a:xfrm>
              <a:off x="406400" y="243682"/>
              <a:ext cx="101600" cy="5183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3" name="Straight Connector 12">
              <a:extLst>
                <a:ext uri="{FF2B5EF4-FFF2-40B4-BE49-F238E27FC236}">
                  <a16:creationId xmlns:a16="http://schemas.microsoft.com/office/drawing/2014/main" id="{80CC2BC3-2DD5-BBFF-A0DD-69208C617CAD}"/>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234228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2491698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7918704" cy="731520"/>
          </a:xfrm>
        </p:spPr>
        <p:txBody>
          <a:bodyPr vert="horz"/>
          <a:lstStyle>
            <a:lvl1pPr rtl="0">
              <a:defRPr>
                <a:solidFill>
                  <a:schemeClr val="accent2"/>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44650"/>
            <a:ext cx="7918704"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bg2"/>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1508E905-D4F6-A3DE-07F1-B7579DA43F52}"/>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F0FFFDFD-F851-B4B7-922A-87FCDDC52879}"/>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FC511F1D-FCF3-0136-8318-92725DF65634}"/>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sz="1000" b="1">
                <a:solidFill>
                  <a:schemeClr val="tx2"/>
                </a:solidFill>
                <a:cs typeface="+mn-cs"/>
              </a:rPr>
              <a:t>PUBLIC</a:t>
            </a:r>
          </a:p>
        </p:txBody>
      </p:sp>
      <p:cxnSp>
        <p:nvCxnSpPr>
          <p:cNvPr id="7" name="Straight Connector 6">
            <a:extLst>
              <a:ext uri="{FF2B5EF4-FFF2-40B4-BE49-F238E27FC236}">
                <a16:creationId xmlns:a16="http://schemas.microsoft.com/office/drawing/2014/main" id="{1E506838-4B8D-E3BA-5A29-D0B8EA3A8909}"/>
              </a:ext>
            </a:extLst>
          </p:cNvPr>
          <p:cNvCxnSpPr>
            <a:cxnSpLocks/>
          </p:cNvCxnSpPr>
          <p:nvPr userDrawn="1"/>
        </p:nvCxnSpPr>
        <p:spPr>
          <a:xfrm>
            <a:off x="2125589" y="6477006"/>
            <a:ext cx="634785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E35EA2B7-189C-213B-001E-A1B794D5DE5B}"/>
              </a:ext>
            </a:extLst>
          </p:cNvPr>
          <p:cNvGrpSpPr/>
          <p:nvPr userDrawn="1"/>
        </p:nvGrpSpPr>
        <p:grpSpPr>
          <a:xfrm>
            <a:off x="406400" y="172212"/>
            <a:ext cx="1320800" cy="518318"/>
            <a:chOff x="406400" y="243682"/>
            <a:chExt cx="1320800" cy="518318"/>
          </a:xfrm>
        </p:grpSpPr>
        <p:sp>
          <p:nvSpPr>
            <p:cNvPr id="11" name="Rectangle 10">
              <a:extLst>
                <a:ext uri="{FF2B5EF4-FFF2-40B4-BE49-F238E27FC236}">
                  <a16:creationId xmlns:a16="http://schemas.microsoft.com/office/drawing/2014/main" id="{ED140A61-596E-EEA1-0BAF-C1D20414DF80}"/>
                </a:ext>
              </a:extLst>
            </p:cNvPr>
            <p:cNvSpPr/>
            <p:nvPr/>
          </p:nvSpPr>
          <p:spPr>
            <a:xfrm>
              <a:off x="406400" y="243682"/>
              <a:ext cx="101600" cy="5183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2" name="Straight Connector 11">
              <a:extLst>
                <a:ext uri="{FF2B5EF4-FFF2-40B4-BE49-F238E27FC236}">
                  <a16:creationId xmlns:a16="http://schemas.microsoft.com/office/drawing/2014/main" id="{0E957CC5-9C44-A60C-D762-2F0C02CD704E}"/>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9118233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1028379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rgbClr val="000000"/>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rgbClr val="000000"/>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5065776" cy="731520"/>
          </a:xfrm>
        </p:spPr>
        <p:txBody>
          <a:bodyPr vert="horz"/>
          <a:lstStyle>
            <a:lvl1pPr rtl="0">
              <a:defRPr>
                <a:solidFill>
                  <a:schemeClr val="tx1"/>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446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tx1"/>
                </a:solidFill>
                <a:cs typeface="+mn-cs"/>
              </a:defRPr>
            </a:lvl1pPr>
          </a:lstStyle>
          <a:p>
            <a:pPr lvl="0">
              <a:buNone/>
            </a:pPr>
            <a:r>
              <a:rPr lang="en-US"/>
              <a:t>Add tracker</a:t>
            </a:r>
          </a:p>
        </p:txBody>
      </p:sp>
      <p:cxnSp>
        <p:nvCxnSpPr>
          <p:cNvPr id="4" name="Straight Connector 3">
            <a:extLst>
              <a:ext uri="{FF2B5EF4-FFF2-40B4-BE49-F238E27FC236}">
                <a16:creationId xmlns:a16="http://schemas.microsoft.com/office/drawing/2014/main" id="{DA9B7E09-8402-16E1-E766-F8B6ECEB9AEF}"/>
              </a:ext>
            </a:extLst>
          </p:cNvPr>
          <p:cNvCxnSpPr>
            <a:cxnSpLocks/>
          </p:cNvCxnSpPr>
          <p:nvPr userDrawn="1"/>
        </p:nvCxnSpPr>
        <p:spPr>
          <a:xfrm>
            <a:off x="101600" y="6477000"/>
            <a:ext cx="6604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714D9DE3-E6BB-24B0-E8DB-AD0A0C2B82B7}"/>
              </a:ext>
            </a:extLst>
          </p:cNvPr>
          <p:cNvPicPr>
            <a:picLocks noChangeAspect="1"/>
          </p:cNvPicPr>
          <p:nvPr userDrawn="1"/>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E46899D8-B4D1-7B41-C9E7-C29EEEA69F7F}"/>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8" name="Straight Connector 7">
            <a:extLst>
              <a:ext uri="{FF2B5EF4-FFF2-40B4-BE49-F238E27FC236}">
                <a16:creationId xmlns:a16="http://schemas.microsoft.com/office/drawing/2014/main" id="{20E2A1E7-FD45-4F51-F2B7-DCAA96696660}"/>
              </a:ext>
            </a:extLst>
          </p:cNvPr>
          <p:cNvCxnSpPr>
            <a:cxnSpLocks/>
          </p:cNvCxnSpPr>
          <p:nvPr userDrawn="1"/>
        </p:nvCxnSpPr>
        <p:spPr>
          <a:xfrm>
            <a:off x="2125589" y="6477006"/>
            <a:ext cx="349492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97D533D4-A1A9-575F-087B-229833B7516C}"/>
              </a:ext>
            </a:extLst>
          </p:cNvPr>
          <p:cNvGrpSpPr/>
          <p:nvPr userDrawn="1"/>
        </p:nvGrpSpPr>
        <p:grpSpPr>
          <a:xfrm>
            <a:off x="406400" y="172212"/>
            <a:ext cx="1320800" cy="518318"/>
            <a:chOff x="406400" y="243682"/>
            <a:chExt cx="1320800" cy="518318"/>
          </a:xfrm>
        </p:grpSpPr>
        <p:sp>
          <p:nvSpPr>
            <p:cNvPr id="11" name="Rectangle 10">
              <a:extLst>
                <a:ext uri="{FF2B5EF4-FFF2-40B4-BE49-F238E27FC236}">
                  <a16:creationId xmlns:a16="http://schemas.microsoft.com/office/drawing/2014/main" id="{7C8ABE7F-9A5F-7C6B-71DF-FF1621FBB6F5}"/>
                </a:ext>
              </a:extLst>
            </p:cNvPr>
            <p:cNvSpPr/>
            <p:nvPr/>
          </p:nvSpPr>
          <p:spPr>
            <a:xfrm>
              <a:off x="406400" y="243682"/>
              <a:ext cx="101600" cy="5183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2" name="Straight Connector 11">
              <a:extLst>
                <a:ext uri="{FF2B5EF4-FFF2-40B4-BE49-F238E27FC236}">
                  <a16:creationId xmlns:a16="http://schemas.microsoft.com/office/drawing/2014/main" id="{C37311A7-814E-C188-38E3-F0755BC3ABFD}"/>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178739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3240780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rgbClr val="000000"/>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rgbClr val="000000"/>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5"/>
            </p:custDataLst>
          </p:nvPr>
        </p:nvSpPr>
        <p:spPr>
          <a:xfrm>
            <a:off x="2125590" y="6568588"/>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6"/>
            </p:custDataLst>
          </p:nvPr>
        </p:nvSpPr>
        <p:spPr>
          <a:xfrm>
            <a:off x="554735" y="41597"/>
            <a:ext cx="3465576"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A2A8C6A2-26B8-46D0-B6A4-4D8C91B2772E}"/>
              </a:ext>
            </a:extLst>
          </p:cNvPr>
          <p:cNvSpPr>
            <a:spLocks noGrp="1"/>
          </p:cNvSpPr>
          <p:nvPr>
            <p:ph type="title"/>
            <p:custDataLst>
              <p:tags r:id="rId7"/>
            </p:custDataLst>
          </p:nvPr>
        </p:nvSpPr>
        <p:spPr>
          <a:xfrm>
            <a:off x="554736" y="2744369"/>
            <a:ext cx="3465576" cy="769441"/>
          </a:xfrm>
          <a:prstGeom prst="rect">
            <a:avLst/>
          </a:prstGeom>
        </p:spPr>
        <p:txBody>
          <a:bodyPr vert="horz" wrap="square" anchor="b">
            <a:noAutofit/>
          </a:bodyPr>
          <a:lstStyle>
            <a:lvl1pPr algn="l" rtl="0">
              <a:defRPr>
                <a:solidFill>
                  <a:schemeClr val="tx1"/>
                </a:solidFill>
              </a:defRPr>
            </a:lvl1pPr>
          </a:lstStyle>
          <a:p>
            <a:r>
              <a:rPr lang="en-US"/>
              <a:t>Click to edit Master title style</a:t>
            </a:r>
          </a:p>
        </p:txBody>
      </p:sp>
      <p:sp>
        <p:nvSpPr>
          <p:cNvPr id="12" name="3. Subtitle">
            <a:extLst>
              <a:ext uri="{FF2B5EF4-FFF2-40B4-BE49-F238E27FC236}">
                <a16:creationId xmlns:a16="http://schemas.microsoft.com/office/drawing/2014/main" id="{63DE0353-99BC-4322-9D9F-E3C1556B87A4}"/>
              </a:ext>
            </a:extLst>
          </p:cNvPr>
          <p:cNvSpPr>
            <a:spLocks noGrp="1"/>
          </p:cNvSpPr>
          <p:nvPr>
            <p:ph type="subTitle" idx="1"/>
            <p:custDataLst>
              <p:tags r:id="rId8"/>
            </p:custDataLst>
          </p:nvPr>
        </p:nvSpPr>
        <p:spPr>
          <a:xfrm>
            <a:off x="554734" y="3659644"/>
            <a:ext cx="3465576"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cxnSp>
        <p:nvCxnSpPr>
          <p:cNvPr id="2" name="Straight Connector 1">
            <a:extLst>
              <a:ext uri="{FF2B5EF4-FFF2-40B4-BE49-F238E27FC236}">
                <a16:creationId xmlns:a16="http://schemas.microsoft.com/office/drawing/2014/main" id="{73C647C9-9EFC-EBB1-54CE-DD6D5F8CC898}"/>
              </a:ext>
            </a:extLst>
          </p:cNvPr>
          <p:cNvCxnSpPr>
            <a:cxnSpLocks/>
          </p:cNvCxnSpPr>
          <p:nvPr userDrawn="1"/>
        </p:nvCxnSpPr>
        <p:spPr>
          <a:xfrm>
            <a:off x="101600" y="6477000"/>
            <a:ext cx="6604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03401658-B2DB-D29A-37F5-D443CF4C008C}"/>
              </a:ext>
            </a:extLst>
          </p:cNvPr>
          <p:cNvPicPr>
            <a:picLocks noChangeAspect="1"/>
          </p:cNvPicPr>
          <p:nvPr userDrawn="1"/>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02DB224D-A0E0-D23C-2B38-FDA0385C4119}"/>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8" name="Straight Connector 7">
            <a:extLst>
              <a:ext uri="{FF2B5EF4-FFF2-40B4-BE49-F238E27FC236}">
                <a16:creationId xmlns:a16="http://schemas.microsoft.com/office/drawing/2014/main" id="{00BB6510-1617-F022-3FAB-A8FAB3DFFB2B}"/>
              </a:ext>
            </a:extLst>
          </p:cNvPr>
          <p:cNvCxnSpPr>
            <a:cxnSpLocks/>
          </p:cNvCxnSpPr>
          <p:nvPr userDrawn="1"/>
        </p:nvCxnSpPr>
        <p:spPr>
          <a:xfrm>
            <a:off x="2125589" y="6477006"/>
            <a:ext cx="189472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19942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2189880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0"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6"/>
            </p:custDataLst>
          </p:nvPr>
        </p:nvSpPr>
        <p:spPr>
          <a:xfrm>
            <a:off x="554735" y="41597"/>
            <a:ext cx="2514600"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7"/>
            </p:custDataLst>
          </p:nvPr>
        </p:nvSpPr>
        <p:spPr>
          <a:xfrm>
            <a:off x="554736" y="2744369"/>
            <a:ext cx="2514600" cy="769441"/>
          </a:xfrm>
        </p:spPr>
        <p:txBody>
          <a:bodyPr vert="horz" anchor="b">
            <a:noAutofit/>
          </a:bodyPr>
          <a:lstStyle>
            <a:lvl1pPr rtl="0">
              <a:defRPr>
                <a:solidFill>
                  <a:schemeClr val="tx1"/>
                </a:solidFill>
              </a:defRPr>
            </a:lvl1pPr>
          </a:lstStyle>
          <a:p>
            <a:r>
              <a:rPr lang="en-US"/>
              <a:t>Click to edit Master tit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8"/>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cxnSp>
        <p:nvCxnSpPr>
          <p:cNvPr id="2" name="Straight Connector 1">
            <a:extLst>
              <a:ext uri="{FF2B5EF4-FFF2-40B4-BE49-F238E27FC236}">
                <a16:creationId xmlns:a16="http://schemas.microsoft.com/office/drawing/2014/main" id="{9B6554B8-D11C-FF17-C046-6CBC0ECE36C1}"/>
              </a:ext>
            </a:extLst>
          </p:cNvPr>
          <p:cNvCxnSpPr>
            <a:cxnSpLocks/>
          </p:cNvCxnSpPr>
          <p:nvPr userDrawn="1"/>
        </p:nvCxnSpPr>
        <p:spPr>
          <a:xfrm>
            <a:off x="101600" y="6477000"/>
            <a:ext cx="6604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1ECDE7F9-67C6-FA83-EFD8-BAFAC9C487F3}"/>
              </a:ext>
            </a:extLst>
          </p:cNvPr>
          <p:cNvPicPr>
            <a:picLocks noChangeAspect="1"/>
          </p:cNvPicPr>
          <p:nvPr userDrawn="1"/>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EC8183F2-BE82-2FAF-2986-D0CFF0AAAFF8}"/>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7" name="Straight Connector 6">
            <a:extLst>
              <a:ext uri="{FF2B5EF4-FFF2-40B4-BE49-F238E27FC236}">
                <a16:creationId xmlns:a16="http://schemas.microsoft.com/office/drawing/2014/main" id="{DD16298A-D098-8C1B-51ED-99DF186DC6C4}"/>
              </a:ext>
            </a:extLst>
          </p:cNvPr>
          <p:cNvCxnSpPr>
            <a:cxnSpLocks/>
          </p:cNvCxnSpPr>
          <p:nvPr userDrawn="1"/>
        </p:nvCxnSpPr>
        <p:spPr>
          <a:xfrm>
            <a:off x="2125589" y="6477006"/>
            <a:ext cx="94374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0587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extLst>
              <p:ext uri="{D42A27DB-BD31-4B8C-83A1-F6EECF244321}">
                <p14:modId xmlns:p14="http://schemas.microsoft.com/office/powerpoint/2010/main" val="134034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C21FF2B8-E50E-3E4B-1159-7B1262C8DDC9}"/>
              </a:ext>
            </a:extLst>
          </p:cNvPr>
          <p:cNvSpPr/>
          <p:nvPr userDrawn="1"/>
        </p:nvSpPr>
        <p:spPr>
          <a:xfrm>
            <a:off x="11379203" y="6477005"/>
            <a:ext cx="711199" cy="3810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7" name="Rectangle 6">
            <a:extLst>
              <a:ext uri="{FF2B5EF4-FFF2-40B4-BE49-F238E27FC236}">
                <a16:creationId xmlns:a16="http://schemas.microsoft.com/office/drawing/2014/main" id="{12F4FEE1-4C97-D435-75F1-02AB4153E929}"/>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9" name="Straight Connector 8">
            <a:extLst>
              <a:ext uri="{FF2B5EF4-FFF2-40B4-BE49-F238E27FC236}">
                <a16:creationId xmlns:a16="http://schemas.microsoft.com/office/drawing/2014/main" id="{997A99D0-787D-DF21-2FD2-C743E9958FFC}"/>
              </a:ext>
            </a:extLst>
          </p:cNvPr>
          <p:cNvCxnSpPr>
            <a:cxnSpLocks/>
          </p:cNvCxnSpPr>
          <p:nvPr userDrawn="1"/>
        </p:nvCxnSpPr>
        <p:spPr>
          <a:xfrm>
            <a:off x="101600" y="6477000"/>
            <a:ext cx="6604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410B009F-4D8B-248E-9B94-D08943E267A5}"/>
              </a:ext>
            </a:extLst>
          </p:cNvPr>
          <p:cNvPicPr>
            <a:picLocks noChangeAspect="1"/>
          </p:cNvPicPr>
          <p:nvPr userDrawn="1"/>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12" name="TextBox 11">
            <a:extLst>
              <a:ext uri="{FF2B5EF4-FFF2-40B4-BE49-F238E27FC236}">
                <a16:creationId xmlns:a16="http://schemas.microsoft.com/office/drawing/2014/main" id="{14E50377-83F9-412D-E825-D1DA055A9729}"/>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13" name="Straight Connector 12">
            <a:extLst>
              <a:ext uri="{FF2B5EF4-FFF2-40B4-BE49-F238E27FC236}">
                <a16:creationId xmlns:a16="http://schemas.microsoft.com/office/drawing/2014/main" id="{E790F8CA-80DF-AD0A-58BE-3FB00D868042}"/>
              </a:ext>
            </a:extLst>
          </p:cNvPr>
          <p:cNvCxnSpPr>
            <a:cxnSpLocks/>
          </p:cNvCxnSpPr>
          <p:nvPr userDrawn="1"/>
        </p:nvCxnSpPr>
        <p:spPr>
          <a:xfrm>
            <a:off x="2125589" y="6477006"/>
            <a:ext cx="1006641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1154162"/>
          </a:xfrm>
        </p:spPr>
        <p:txBody>
          <a:bodyPr vert="horz">
            <a:noAutofit/>
          </a:bodyPr>
          <a:lstStyle>
            <a:lvl1pPr rtl="0">
              <a:defRPr/>
            </a:lvl1pPr>
          </a:lstStyle>
          <a:p>
            <a:r>
              <a:rPr lang="en-US"/>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B5C5F547-1B1B-411D-99AF-7DE767A71F1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grpSp>
        <p:nvGrpSpPr>
          <p:cNvPr id="14" name="Group 13">
            <a:extLst>
              <a:ext uri="{FF2B5EF4-FFF2-40B4-BE49-F238E27FC236}">
                <a16:creationId xmlns:a16="http://schemas.microsoft.com/office/drawing/2014/main" id="{3A861D87-C576-D16E-4731-40CBB9000277}"/>
              </a:ext>
            </a:extLst>
          </p:cNvPr>
          <p:cNvGrpSpPr/>
          <p:nvPr userDrawn="1"/>
        </p:nvGrpSpPr>
        <p:grpSpPr>
          <a:xfrm>
            <a:off x="406400" y="172212"/>
            <a:ext cx="1320800" cy="518318"/>
            <a:chOff x="406400" y="243682"/>
            <a:chExt cx="1320800" cy="518318"/>
          </a:xfrm>
        </p:grpSpPr>
        <p:sp>
          <p:nvSpPr>
            <p:cNvPr id="16" name="Rectangle 15">
              <a:extLst>
                <a:ext uri="{FF2B5EF4-FFF2-40B4-BE49-F238E27FC236}">
                  <a16:creationId xmlns:a16="http://schemas.microsoft.com/office/drawing/2014/main" id="{EAFF6D49-85D8-A690-BB61-86DBD630D3B4}"/>
                </a:ext>
              </a:extLst>
            </p:cNvPr>
            <p:cNvSpPr/>
            <p:nvPr/>
          </p:nvSpPr>
          <p:spPr>
            <a:xfrm>
              <a:off x="406400" y="243682"/>
              <a:ext cx="101600" cy="5183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7" name="Straight Connector 16">
              <a:extLst>
                <a:ext uri="{FF2B5EF4-FFF2-40B4-BE49-F238E27FC236}">
                  <a16:creationId xmlns:a16="http://schemas.microsoft.com/office/drawing/2014/main" id="{91DE58A1-0CC8-6F9C-4734-C8E23081C7E9}"/>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321634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1860085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7" name="1. On-page tracker">
            <a:extLst>
              <a:ext uri="{FF2B5EF4-FFF2-40B4-BE49-F238E27FC236}">
                <a16:creationId xmlns:a16="http://schemas.microsoft.com/office/drawing/2014/main" id="{E9E206AB-587F-4AC2-9EF7-AA339899F4B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3" name="Picture 2">
            <a:extLst>
              <a:ext uri="{FF2B5EF4-FFF2-40B4-BE49-F238E27FC236}">
                <a16:creationId xmlns:a16="http://schemas.microsoft.com/office/drawing/2014/main" id="{AAD850D9-B5D8-504C-7BFF-DBC89BE7E2B7}"/>
              </a:ext>
            </a:extLst>
          </p:cNvPr>
          <p:cNvPicPr>
            <a:picLocks noChangeAspect="1"/>
          </p:cNvPicPr>
          <p:nvPr userDrawn="1"/>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4" name="TextBox 3">
            <a:extLst>
              <a:ext uri="{FF2B5EF4-FFF2-40B4-BE49-F238E27FC236}">
                <a16:creationId xmlns:a16="http://schemas.microsoft.com/office/drawing/2014/main" id="{BCC9B53A-3D1F-5763-E3F5-008BAAA6711D}"/>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spTree>
    <p:extLst>
      <p:ext uri="{BB962C8B-B14F-4D97-AF65-F5344CB8AC3E}">
        <p14:creationId xmlns:p14="http://schemas.microsoft.com/office/powerpoint/2010/main" val="319649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extLst>
              <p:ext uri="{D42A27DB-BD31-4B8C-83A1-F6EECF244321}">
                <p14:modId xmlns:p14="http://schemas.microsoft.com/office/powerpoint/2010/main" val="778582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5. Source" hidden="1">
            <a:extLst>
              <a:ext uri="{FF2B5EF4-FFF2-40B4-BE49-F238E27FC236}">
                <a16:creationId xmlns:a16="http://schemas.microsoft.com/office/drawing/2014/main" id="{EED9D83D-9CC3-45F3-876D-CC42BC0B70E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3" name="Picture 2">
            <a:extLst>
              <a:ext uri="{FF2B5EF4-FFF2-40B4-BE49-F238E27FC236}">
                <a16:creationId xmlns:a16="http://schemas.microsoft.com/office/drawing/2014/main" id="{037D691D-53E7-CC3A-5CB6-5C76E7ED32BB}"/>
              </a:ext>
            </a:extLst>
          </p:cNvPr>
          <p:cNvPicPr>
            <a:picLocks noChangeAspect="1"/>
          </p:cNvPicPr>
          <p:nvPr userDrawn="1"/>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bwMode="invGray">
          <a:xfrm>
            <a:off x="4101243" y="2657337"/>
            <a:ext cx="3989513" cy="1543326"/>
          </a:xfrm>
          <a:prstGeom prst="rect">
            <a:avLst/>
          </a:prstGeom>
        </p:spPr>
      </p:pic>
    </p:spTree>
    <p:extLst>
      <p:ext uri="{BB962C8B-B14F-4D97-AF65-F5344CB8AC3E}">
        <p14:creationId xmlns:p14="http://schemas.microsoft.com/office/powerpoint/2010/main" val="367790021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821422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11200" y="2130430"/>
            <a:ext cx="10674157" cy="1470025"/>
          </a:xfrm>
          <a:prstGeom prst="rect">
            <a:avLst/>
          </a:prstGeom>
        </p:spPr>
        <p:txBody>
          <a:bodyPr/>
          <a:lstStyle>
            <a:lvl1pPr>
              <a:defRPr b="1">
                <a:solidFill>
                  <a:srgbClr val="5B6770"/>
                </a:solidFill>
              </a:defRPr>
            </a:lvl1pPr>
          </a:lstStyle>
          <a:p>
            <a:r>
              <a:rPr lang="en-US"/>
              <a:t>Click to edit Master title style</a:t>
            </a:r>
          </a:p>
        </p:txBody>
      </p:sp>
      <p:sp>
        <p:nvSpPr>
          <p:cNvPr id="3" name="Subtitle 2"/>
          <p:cNvSpPr>
            <a:spLocks noGrp="1"/>
          </p:cNvSpPr>
          <p:nvPr>
            <p:ph type="subTitle" idx="1"/>
          </p:nvPr>
        </p:nvSpPr>
        <p:spPr>
          <a:xfrm>
            <a:off x="1936557" y="3886200"/>
            <a:ext cx="8534400" cy="1752600"/>
          </a:xfrm>
          <a:prstGeom prst="rect">
            <a:avLst/>
          </a:prstGeom>
        </p:spPr>
        <p:txBody>
          <a:bodyPr/>
          <a:lstStyle>
            <a:lvl1pPr marL="0" indent="0" algn="ctr">
              <a:buNone/>
              <a:defRPr>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5" name="Footer Placeholder 4"/>
          <p:cNvSpPr>
            <a:spLocks noGrp="1"/>
          </p:cNvSpPr>
          <p:nvPr>
            <p:ph type="ftr" sz="quarter" idx="11"/>
          </p:nvPr>
        </p:nvSpPr>
        <p:spPr/>
        <p:txBody>
          <a:bodyPr/>
          <a:lstStyle/>
          <a:p>
            <a:r>
              <a:rPr lang="en-US">
                <a:solidFill>
                  <a:prstClr val="black">
                    <a:tint val="75000"/>
                  </a:prstClr>
                </a:solidFill>
              </a:rPr>
              <a:t>Use or disclosure of information contained on this page is subject to the restrictions on the title page.</a:t>
            </a:r>
          </a:p>
        </p:txBody>
      </p:sp>
      <p:sp>
        <p:nvSpPr>
          <p:cNvPr id="4" name="Slide Number Placeholder 5">
            <a:extLst>
              <a:ext uri="{FF2B5EF4-FFF2-40B4-BE49-F238E27FC236}">
                <a16:creationId xmlns:a16="http://schemas.microsoft.com/office/drawing/2014/main" id="{FBA199AC-D2A1-091A-DA81-F6D6886C50B2}"/>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197278938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2" name="Title 1"/>
          <p:cNvSpPr>
            <a:spLocks noGrp="1"/>
          </p:cNvSpPr>
          <p:nvPr>
            <p:ph type="ctrTitle"/>
          </p:nvPr>
        </p:nvSpPr>
        <p:spPr>
          <a:xfrm>
            <a:off x="711200" y="2438405"/>
            <a:ext cx="10674157" cy="1470025"/>
          </a:xfrm>
          <a:prstGeom prst="rect">
            <a:avLst/>
          </a:prstGeom>
        </p:spPr>
        <p:txBody>
          <a:bodyPr/>
          <a:lstStyle>
            <a:lvl1pPr>
              <a:defRPr b="1">
                <a:solidFill>
                  <a:schemeClr val="accent1"/>
                </a:solidFill>
              </a:defRPr>
            </a:lvl1pPr>
          </a:lstStyle>
          <a:p>
            <a:r>
              <a:rPr lang="en-US"/>
              <a:t>Click to edit Master title style</a:t>
            </a:r>
          </a:p>
        </p:txBody>
      </p:sp>
      <p:sp>
        <p:nvSpPr>
          <p:cNvPr id="5" name="Footer Placeholder 4"/>
          <p:cNvSpPr>
            <a:spLocks noGrp="1"/>
          </p:cNvSpPr>
          <p:nvPr>
            <p:ph type="ftr" sz="quarter" idx="11"/>
          </p:nvPr>
        </p:nvSpPr>
        <p:spPr/>
        <p:txBody>
          <a:bodyPr/>
          <a:lstStyle/>
          <a:p>
            <a:r>
              <a:rPr lang="en-US">
                <a:solidFill>
                  <a:prstClr val="black">
                    <a:tint val="75000"/>
                  </a:prstClr>
                </a:solidFill>
              </a:rPr>
              <a:t>Use or disclosure of information contained on this page is subject to the restrictions on the title page.</a:t>
            </a:r>
          </a:p>
        </p:txBody>
      </p:sp>
      <p:sp>
        <p:nvSpPr>
          <p:cNvPr id="6" name="Slide Number Placeholder 5">
            <a:extLst>
              <a:ext uri="{FF2B5EF4-FFF2-40B4-BE49-F238E27FC236}">
                <a16:creationId xmlns:a16="http://schemas.microsoft.com/office/drawing/2014/main" id="{F5AF8914-EDD3-FC49-4CAF-D7AFEA0598A5}"/>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9893859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7" name="Rectangle 6"/>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8" name="Footer Placeholder 4"/>
          <p:cNvSpPr>
            <a:spLocks noGrp="1"/>
          </p:cNvSpPr>
          <p:nvPr>
            <p:ph type="ftr" sz="quarter" idx="11"/>
          </p:nvPr>
        </p:nvSpPr>
        <p:spPr>
          <a:xfrm>
            <a:off x="1940011" y="6553200"/>
            <a:ext cx="8311978" cy="228600"/>
          </a:xfrm>
        </p:spPr>
        <p:txBody>
          <a:bodyPr/>
          <a:lstStyle/>
          <a:p>
            <a:r>
              <a:rPr lang="en-US"/>
              <a:t>Use or disclosure of information contained on this page is subject to the restrictions on the title page.</a:t>
            </a:r>
            <a:endParaRPr lang="en-US">
              <a:solidFill>
                <a:prstClr val="black">
                  <a:tint val="75000"/>
                </a:prstClr>
              </a:solidFill>
            </a:endParaRPr>
          </a:p>
        </p:txBody>
      </p:sp>
      <p:cxnSp>
        <p:nvCxnSpPr>
          <p:cNvPr id="5" name="Straight Connector 4"/>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2F5400B3-30FC-250E-0E40-F769CD495FA7}"/>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18435275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Key Takeaways">
    <p:spTree>
      <p:nvGrpSpPr>
        <p:cNvPr id="1" name=""/>
        <p:cNvGrpSpPr/>
        <p:nvPr/>
      </p:nvGrpSpPr>
      <p:grpSpPr>
        <a:xfrm>
          <a:off x="0" y="0"/>
          <a:ext cx="0" cy="0"/>
          <a:chOff x="0" y="0"/>
          <a:chExt cx="0" cy="0"/>
        </a:xfrm>
      </p:grpSpPr>
      <p:sp>
        <p:nvSpPr>
          <p:cNvPr id="2" name="Title 1"/>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7" name="Rectangle 6"/>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8" name="Footer Placeholder 4"/>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cxnSp>
        <p:nvCxnSpPr>
          <p:cNvPr id="5" name="Straight Connector 4"/>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2F5400B3-30FC-250E-0E40-F769CD495FA7}"/>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3" name="Content Placeholder 2" descr="xdgdfgdfg">
            <a:extLst>
              <a:ext uri="{FF2B5EF4-FFF2-40B4-BE49-F238E27FC236}">
                <a16:creationId xmlns:a16="http://schemas.microsoft.com/office/drawing/2014/main" id="{598BF201-9067-3A1D-911D-FB3EA47FFC02}"/>
              </a:ext>
              <a:ext uri="{C183D7F6-B498-43B3-948B-1728B52AA6E4}">
                <adec:decorative xmlns:adec="http://schemas.microsoft.com/office/drawing/2017/decorative" val="0"/>
              </a:ext>
            </a:extLst>
          </p:cNvPr>
          <p:cNvSpPr>
            <a:spLocks noGrp="1"/>
          </p:cNvSpPr>
          <p:nvPr>
            <p:ph idx="12"/>
          </p:nvPr>
        </p:nvSpPr>
        <p:spPr>
          <a:xfrm>
            <a:off x="406400" y="1058219"/>
            <a:ext cx="11377706" cy="1948194"/>
          </a:xfrm>
          <a:prstGeom prst="rect">
            <a:avLst/>
          </a:prstGeom>
          <a:solidFill>
            <a:schemeClr val="accent1">
              <a:lumMod val="20000"/>
              <a:lumOff val="80000"/>
            </a:schemeClr>
          </a:solidFill>
          <a:ln w="15875" cap="rnd">
            <a:solidFill>
              <a:srgbClr val="00AEC7">
                <a:alpha val="59000"/>
              </a:srgb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1600" b="0">
                <a:solidFill>
                  <a:schemeClr val="tx1"/>
                </a:solidFill>
              </a:defRPr>
            </a:lvl1pPr>
            <a:lvl2pPr>
              <a:defRPr sz="1400">
                <a:solidFill>
                  <a:schemeClr val="tx1"/>
                </a:solidFill>
              </a:defRPr>
            </a:lvl2pPr>
            <a:lvl3pPr>
              <a:defRPr sz="12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4" name="Content Placeholder 2">
            <a:extLst>
              <a:ext uri="{FF2B5EF4-FFF2-40B4-BE49-F238E27FC236}">
                <a16:creationId xmlns:a16="http://schemas.microsoft.com/office/drawing/2014/main" id="{E13BC7D2-FAD9-20EE-F85E-A8C0876CD499}"/>
              </a:ext>
            </a:extLst>
          </p:cNvPr>
          <p:cNvSpPr>
            <a:spLocks noGrp="1"/>
          </p:cNvSpPr>
          <p:nvPr>
            <p:ph idx="13"/>
          </p:nvPr>
        </p:nvSpPr>
        <p:spPr>
          <a:xfrm>
            <a:off x="406400" y="3524730"/>
            <a:ext cx="11377706" cy="2212106"/>
          </a:xfrm>
          <a:prstGeom prst="rect">
            <a:avLst/>
          </a:prstGeom>
          <a:solidFill>
            <a:schemeClr val="bg2"/>
          </a:solidFill>
          <a:ln w="15875" cap="rnd">
            <a:solidFill>
              <a:schemeClr val="bg1">
                <a:lumMod val="85000"/>
                <a:alpha val="59000"/>
              </a:scheme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1600" b="0">
                <a:solidFill>
                  <a:schemeClr val="tx1"/>
                </a:solidFill>
              </a:defRPr>
            </a:lvl1pPr>
            <a:lvl2pPr>
              <a:defRPr sz="1400">
                <a:solidFill>
                  <a:schemeClr val="tx2"/>
                </a:solidFill>
              </a:defRPr>
            </a:lvl2pPr>
            <a:lvl3pPr>
              <a:defRPr sz="1200">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3038963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3" name="Content Placeholder 2"/>
          <p:cNvSpPr>
            <a:spLocks noGrp="1"/>
          </p:cNvSpPr>
          <p:nvPr>
            <p:ph idx="1"/>
          </p:nvPr>
        </p:nvSpPr>
        <p:spPr>
          <a:xfrm>
            <a:off x="406400" y="762001"/>
            <a:ext cx="11379200" cy="5280822"/>
          </a:xfrm>
          <a:prstGeom prst="rect">
            <a:avLst/>
          </a:prstGeom>
        </p:spPr>
        <p:txBody>
          <a:bodyPr lIns="274320" tIns="274320" rIns="274320" bIns="274320"/>
          <a:lstStyle>
            <a:lvl1pPr>
              <a:defRPr sz="2000" b="1">
                <a:solidFill>
                  <a:schemeClr val="tx1"/>
                </a:solidFill>
              </a:defRPr>
            </a:lvl1pPr>
            <a:lvl2pPr>
              <a:defRPr sz="1800">
                <a:solidFill>
                  <a:srgbClr val="5B6770"/>
                </a:solidFill>
              </a:defRPr>
            </a:lvl2pPr>
            <a:lvl3pPr>
              <a:defRPr sz="1600">
                <a:solidFill>
                  <a:srgbClr val="5B6770"/>
                </a:solidFill>
              </a:defRPr>
            </a:lvl3pPr>
            <a:lvl4pPr>
              <a:defRPr sz="1400">
                <a:solidFill>
                  <a:srgbClr val="5B6770"/>
                </a:solidFill>
              </a:defRPr>
            </a:lvl4pPr>
            <a:lvl5pPr>
              <a:defRPr sz="1200">
                <a:solidFill>
                  <a:srgbClr val="5B677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8" name="Footer Placeholder 4"/>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cxnSp>
        <p:nvCxnSpPr>
          <p:cNvPr id="5" name="Straight Connector 4"/>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915271C7-351C-6A53-1BD1-4B6987F11FC7}"/>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13166001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omparison (Gray Title)">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A08BA54D-6CCD-C3E8-6751-1276B8364E6C}"/>
              </a:ext>
            </a:extLst>
          </p:cNvPr>
          <p:cNvSpPr>
            <a:spLocks noGrp="1"/>
          </p:cNvSpPr>
          <p:nvPr>
            <p:ph idx="10"/>
          </p:nvPr>
        </p:nvSpPr>
        <p:spPr>
          <a:xfrm>
            <a:off x="7315200" y="0"/>
            <a:ext cx="4876800" cy="6464808"/>
          </a:xfrm>
          <a:prstGeom prst="rect">
            <a:avLst/>
          </a:prstGeom>
          <a:solidFill>
            <a:srgbClr val="E6EBF0"/>
          </a:solidFill>
        </p:spPr>
        <p:txBody>
          <a:bodyPr lIns="274320" tIns="1097280" rIns="274320" bIns="731520"/>
          <a:lstStyle>
            <a:lvl1pPr marL="0" indent="0" algn="l">
              <a:buNone/>
              <a:defRPr sz="2000" b="0">
                <a:solidFill>
                  <a:schemeClr val="tx1"/>
                </a:solidFill>
              </a:defRPr>
            </a:lvl1pPr>
            <a:lvl2pPr algn="l">
              <a:defRPr sz="1800">
                <a:solidFill>
                  <a:schemeClr val="tx2"/>
                </a:solidFill>
              </a:defRPr>
            </a:lvl2pPr>
            <a:lvl3pPr algn="l">
              <a:defRPr sz="1600">
                <a:solidFill>
                  <a:schemeClr val="tx2"/>
                </a:solidFill>
              </a:defRPr>
            </a:lvl3pPr>
            <a:lvl4pPr algn="l">
              <a:defRPr sz="1400">
                <a:solidFill>
                  <a:schemeClr val="tx2"/>
                </a:solidFill>
              </a:defRPr>
            </a:lvl4pPr>
            <a:lvl5pPr algn="l">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p:cNvSpPr>
            <a:spLocks noGrp="1"/>
          </p:cNvSpPr>
          <p:nvPr>
            <p:ph idx="1"/>
          </p:nvPr>
        </p:nvSpPr>
        <p:spPr>
          <a:xfrm>
            <a:off x="406400" y="762000"/>
            <a:ext cx="6908800" cy="5410200"/>
          </a:xfrm>
          <a:prstGeom prst="rect">
            <a:avLst/>
          </a:prstGeom>
        </p:spPr>
        <p:txBody>
          <a:bodyPr lIns="274320" tIns="274320" rIns="274320" bIns="274320"/>
          <a:lstStyle>
            <a:lvl1pPr marL="0" indent="0">
              <a:buNone/>
              <a:defRPr sz="2000" b="1">
                <a:solidFill>
                  <a:schemeClr val="tx1"/>
                </a:solidFill>
                <a:latin typeface="+mj-lt"/>
              </a:defRPr>
            </a:lvl1pPr>
            <a:lvl2pPr>
              <a:defRPr sz="1800">
                <a:solidFill>
                  <a:schemeClr val="tx2"/>
                </a:solidFill>
              </a:defRPr>
            </a:lvl2pPr>
            <a:lvl3pPr>
              <a:defRPr sz="1600">
                <a:solidFill>
                  <a:schemeClr val="tx2"/>
                </a:solidFill>
              </a:defRPr>
            </a:lvl3pPr>
            <a:lvl4pPr>
              <a:defRPr sz="1400">
                <a:solidFill>
                  <a:schemeClr val="tx2"/>
                </a:solidFill>
              </a:defRPr>
            </a:lvl4pPr>
            <a:lvl5pPr>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1">
            <a:extLst>
              <a:ext uri="{FF2B5EF4-FFF2-40B4-BE49-F238E27FC236}">
                <a16:creationId xmlns:a16="http://schemas.microsoft.com/office/drawing/2014/main" id="{4CC83710-C64D-1BD2-447D-28FF58823C70}"/>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08FF9252-B1FC-9936-53BB-BEE6DD5CEFBE}"/>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6" name="Straight Connector 5">
            <a:extLst>
              <a:ext uri="{FF2B5EF4-FFF2-40B4-BE49-F238E27FC236}">
                <a16:creationId xmlns:a16="http://schemas.microsoft.com/office/drawing/2014/main" id="{060D07C2-2A38-B953-E52E-4EBD6A8D19A2}"/>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8" name="Footer Placeholder 4">
            <a:extLst>
              <a:ext uri="{FF2B5EF4-FFF2-40B4-BE49-F238E27FC236}">
                <a16:creationId xmlns:a16="http://schemas.microsoft.com/office/drawing/2014/main" id="{0DBED4E2-E7A2-AE66-639C-4EE96FC0655C}"/>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9" name="Slide Number Placeholder 5">
            <a:extLst>
              <a:ext uri="{FF2B5EF4-FFF2-40B4-BE49-F238E27FC236}">
                <a16:creationId xmlns:a16="http://schemas.microsoft.com/office/drawing/2014/main" id="{78926B97-2A6D-A2E6-33E5-91F5C2A6F7BE}"/>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277346765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omparison (Blue Titl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96BAD60-5C45-1A72-0429-2EA7A0968D40}"/>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7A60EBBE-A2F2-20F7-8FB9-432D577E3F22}"/>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6" name="Straight Connector 5">
            <a:extLst>
              <a:ext uri="{FF2B5EF4-FFF2-40B4-BE49-F238E27FC236}">
                <a16:creationId xmlns:a16="http://schemas.microsoft.com/office/drawing/2014/main" id="{130BE998-F70B-DF4E-4F08-F7692DA494DE}"/>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Footer Placeholder 4">
            <a:extLst>
              <a:ext uri="{FF2B5EF4-FFF2-40B4-BE49-F238E27FC236}">
                <a16:creationId xmlns:a16="http://schemas.microsoft.com/office/drawing/2014/main" id="{9EA07743-71C9-2937-9D4F-786590E1067C}"/>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13" name="Slide Number Placeholder 5">
            <a:extLst>
              <a:ext uri="{FF2B5EF4-FFF2-40B4-BE49-F238E27FC236}">
                <a16:creationId xmlns:a16="http://schemas.microsoft.com/office/drawing/2014/main" id="{FC980251-D77A-C3CE-5889-2579FFB6AC5C}"/>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2" name="Content Placeholder 2">
            <a:extLst>
              <a:ext uri="{FF2B5EF4-FFF2-40B4-BE49-F238E27FC236}">
                <a16:creationId xmlns:a16="http://schemas.microsoft.com/office/drawing/2014/main" id="{55BA22F1-2EF4-FAB1-48BA-4636D4B7C154}"/>
              </a:ext>
            </a:extLst>
          </p:cNvPr>
          <p:cNvSpPr>
            <a:spLocks noGrp="1"/>
          </p:cNvSpPr>
          <p:nvPr>
            <p:ph idx="10"/>
          </p:nvPr>
        </p:nvSpPr>
        <p:spPr>
          <a:xfrm>
            <a:off x="7315200" y="0"/>
            <a:ext cx="4876800" cy="6464808"/>
          </a:xfrm>
          <a:prstGeom prst="rect">
            <a:avLst/>
          </a:prstGeom>
          <a:solidFill>
            <a:srgbClr val="E6EBF0"/>
          </a:solidFill>
        </p:spPr>
        <p:txBody>
          <a:bodyPr lIns="274320" tIns="1097280" rIns="274320" bIns="731520"/>
          <a:lstStyle>
            <a:lvl1pPr marL="0" indent="0" algn="l">
              <a:buNone/>
              <a:defRPr sz="2000" b="0">
                <a:solidFill>
                  <a:schemeClr val="accent1"/>
                </a:solidFill>
              </a:defRPr>
            </a:lvl1pPr>
            <a:lvl2pPr algn="l">
              <a:defRPr sz="1800">
                <a:solidFill>
                  <a:schemeClr val="tx2"/>
                </a:solidFill>
              </a:defRPr>
            </a:lvl2pPr>
            <a:lvl3pPr algn="l">
              <a:defRPr sz="1600">
                <a:solidFill>
                  <a:schemeClr val="tx2"/>
                </a:solidFill>
              </a:defRPr>
            </a:lvl3pPr>
            <a:lvl4pPr algn="l">
              <a:defRPr sz="1400">
                <a:solidFill>
                  <a:schemeClr val="tx2"/>
                </a:solidFill>
              </a:defRPr>
            </a:lvl4pPr>
            <a:lvl5pPr algn="l">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a:extLst>
              <a:ext uri="{FF2B5EF4-FFF2-40B4-BE49-F238E27FC236}">
                <a16:creationId xmlns:a16="http://schemas.microsoft.com/office/drawing/2014/main" id="{76AA29EA-E088-D81E-2199-D3C6680B1D35}"/>
              </a:ext>
            </a:extLst>
          </p:cNvPr>
          <p:cNvSpPr>
            <a:spLocks noGrp="1"/>
          </p:cNvSpPr>
          <p:nvPr>
            <p:ph idx="1"/>
          </p:nvPr>
        </p:nvSpPr>
        <p:spPr>
          <a:xfrm>
            <a:off x="406400" y="762000"/>
            <a:ext cx="6908800" cy="5410200"/>
          </a:xfrm>
          <a:prstGeom prst="rect">
            <a:avLst/>
          </a:prstGeom>
        </p:spPr>
        <p:txBody>
          <a:bodyPr lIns="274320" tIns="274320" rIns="274320" bIns="274320"/>
          <a:lstStyle>
            <a:lvl1pPr marL="0" indent="0">
              <a:buNone/>
              <a:defRPr sz="2000" b="1">
                <a:solidFill>
                  <a:schemeClr val="tx1"/>
                </a:solidFill>
                <a:latin typeface="+mj-lt"/>
              </a:defRPr>
            </a:lvl1pPr>
            <a:lvl2pPr>
              <a:defRPr sz="1800">
                <a:solidFill>
                  <a:schemeClr val="tx2"/>
                </a:solidFill>
              </a:defRPr>
            </a:lvl2pPr>
            <a:lvl3pPr>
              <a:defRPr sz="1600">
                <a:solidFill>
                  <a:schemeClr val="tx2"/>
                </a:solidFill>
              </a:defRPr>
            </a:lvl3pPr>
            <a:lvl4pPr>
              <a:defRPr sz="1400">
                <a:solidFill>
                  <a:schemeClr val="tx2"/>
                </a:solidFill>
              </a:defRPr>
            </a:lvl4pPr>
            <a:lvl5pPr>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21878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947661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07970749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ntent with Caption (Gray Titl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A0D26C4-F0B9-8786-63BA-3230F0D9EE58}"/>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002746A8-CEB7-DA32-2E46-4CD875A53BEE}"/>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5B6770"/>
              </a:solidFill>
            </a:endParaRPr>
          </a:p>
        </p:txBody>
      </p:sp>
      <p:cxnSp>
        <p:nvCxnSpPr>
          <p:cNvPr id="6" name="Straight Connector 5">
            <a:extLst>
              <a:ext uri="{FF2B5EF4-FFF2-40B4-BE49-F238E27FC236}">
                <a16:creationId xmlns:a16="http://schemas.microsoft.com/office/drawing/2014/main" id="{D81F622A-1E5B-9C1F-4B89-952F231997D8}"/>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Content Placeholder 2">
            <a:extLst>
              <a:ext uri="{FF2B5EF4-FFF2-40B4-BE49-F238E27FC236}">
                <a16:creationId xmlns:a16="http://schemas.microsoft.com/office/drawing/2014/main" id="{8504BE0D-CAFF-A353-053D-04E6FAB5704A}"/>
              </a:ext>
            </a:extLst>
          </p:cNvPr>
          <p:cNvSpPr>
            <a:spLocks noGrp="1"/>
          </p:cNvSpPr>
          <p:nvPr>
            <p:ph idx="1"/>
          </p:nvPr>
        </p:nvSpPr>
        <p:spPr>
          <a:xfrm>
            <a:off x="406400" y="762000"/>
            <a:ext cx="11379200" cy="3886198"/>
          </a:xfrm>
          <a:prstGeom prst="rect">
            <a:avLst/>
          </a:prstGeom>
        </p:spPr>
        <p:txBody>
          <a:bodyPr lIns="274320" tIns="274320" rIns="274320" bIns="274320"/>
          <a:lstStyle>
            <a:lvl1pPr marL="0" indent="0">
              <a:buNone/>
              <a:defRPr sz="2000" b="0">
                <a:solidFill>
                  <a:schemeClr val="tx1"/>
                </a:solidFill>
              </a:defRPr>
            </a:lvl1pPr>
            <a:lvl2pPr>
              <a:defRPr sz="2000">
                <a:solidFill>
                  <a:schemeClr val="tx1"/>
                </a:solidFill>
              </a:defRPr>
            </a:lvl2pPr>
            <a:lvl3pPr>
              <a:defRPr sz="18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1" name="Content Placeholder 2">
            <a:extLst>
              <a:ext uri="{FF2B5EF4-FFF2-40B4-BE49-F238E27FC236}">
                <a16:creationId xmlns:a16="http://schemas.microsoft.com/office/drawing/2014/main" id="{A0A47C1F-9F12-8BE1-EFDD-1FE189FAAD52}"/>
              </a:ext>
            </a:extLst>
          </p:cNvPr>
          <p:cNvSpPr>
            <a:spLocks noGrp="1"/>
          </p:cNvSpPr>
          <p:nvPr>
            <p:ph idx="10"/>
          </p:nvPr>
        </p:nvSpPr>
        <p:spPr>
          <a:xfrm>
            <a:off x="406400" y="4648200"/>
            <a:ext cx="11379200" cy="1447800"/>
          </a:xfrm>
          <a:prstGeom prst="rect">
            <a:avLst/>
          </a:prstGeom>
          <a:solidFill>
            <a:srgbClr val="E6EBF0"/>
          </a:solidFill>
          <a:ln w="15875" cap="rnd">
            <a:solidFill>
              <a:schemeClr val="bg1">
                <a:lumMod val="85000"/>
                <a:alpha val="59000"/>
              </a:scheme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1600" b="0">
                <a:solidFill>
                  <a:schemeClr val="tx1"/>
                </a:solidFill>
              </a:defRPr>
            </a:lvl1pPr>
            <a:lvl2pPr>
              <a:defRPr sz="1400">
                <a:solidFill>
                  <a:schemeClr val="tx1"/>
                </a:solidFill>
              </a:defRPr>
            </a:lvl2pPr>
            <a:lvl3pPr>
              <a:defRPr sz="12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3" name="Footer Placeholder 4">
            <a:extLst>
              <a:ext uri="{FF2B5EF4-FFF2-40B4-BE49-F238E27FC236}">
                <a16:creationId xmlns:a16="http://schemas.microsoft.com/office/drawing/2014/main" id="{4BAB97C9-A225-B5FE-3934-62A46DFCC245}"/>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14" name="Slide Number Placeholder 5">
            <a:extLst>
              <a:ext uri="{FF2B5EF4-FFF2-40B4-BE49-F238E27FC236}">
                <a16:creationId xmlns:a16="http://schemas.microsoft.com/office/drawing/2014/main" id="{744CFBEC-5C8F-3F37-0431-43415179EE3B}"/>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383457252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ontent with Caption (Blue Titl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A0837FE-C71E-9CF6-AC64-3D795C3B5F1F}"/>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A2A5C917-3A9B-FEDC-2C2D-7DCD85F5C1DF}"/>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6" name="Straight Connector 5">
            <a:extLst>
              <a:ext uri="{FF2B5EF4-FFF2-40B4-BE49-F238E27FC236}">
                <a16:creationId xmlns:a16="http://schemas.microsoft.com/office/drawing/2014/main" id="{949D2196-8960-8007-C0C0-62EFA03EA586}"/>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Footer Placeholder 4">
            <a:extLst>
              <a:ext uri="{FF2B5EF4-FFF2-40B4-BE49-F238E27FC236}">
                <a16:creationId xmlns:a16="http://schemas.microsoft.com/office/drawing/2014/main" id="{15A3345B-D5C7-2F88-8026-20E44CDC1C8C}"/>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14" name="Slide Number Placeholder 5">
            <a:extLst>
              <a:ext uri="{FF2B5EF4-FFF2-40B4-BE49-F238E27FC236}">
                <a16:creationId xmlns:a16="http://schemas.microsoft.com/office/drawing/2014/main" id="{02DBDC06-CAF6-397A-E258-1B91B7BE4A6A}"/>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2" name="Content Placeholder 2">
            <a:extLst>
              <a:ext uri="{FF2B5EF4-FFF2-40B4-BE49-F238E27FC236}">
                <a16:creationId xmlns:a16="http://schemas.microsoft.com/office/drawing/2014/main" id="{1FF48671-73D4-A8B4-B73D-773427B40011}"/>
              </a:ext>
            </a:extLst>
          </p:cNvPr>
          <p:cNvSpPr>
            <a:spLocks noGrp="1"/>
          </p:cNvSpPr>
          <p:nvPr>
            <p:ph idx="1"/>
          </p:nvPr>
        </p:nvSpPr>
        <p:spPr>
          <a:xfrm>
            <a:off x="406400" y="762000"/>
            <a:ext cx="11379200" cy="3886198"/>
          </a:xfrm>
          <a:prstGeom prst="rect">
            <a:avLst/>
          </a:prstGeom>
        </p:spPr>
        <p:txBody>
          <a:bodyPr lIns="274320" tIns="274320" rIns="274320" bIns="274320"/>
          <a:lstStyle>
            <a:lvl1pPr marL="0" indent="0">
              <a:buNone/>
              <a:defRPr sz="2000" b="0">
                <a:solidFill>
                  <a:schemeClr val="tx1"/>
                </a:solidFill>
              </a:defRPr>
            </a:lvl1pPr>
            <a:lvl2pPr>
              <a:defRPr sz="2000">
                <a:solidFill>
                  <a:schemeClr val="tx1"/>
                </a:solidFill>
              </a:defRPr>
            </a:lvl2pPr>
            <a:lvl3pPr>
              <a:defRPr sz="18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4" name="Content Placeholder 2">
            <a:extLst>
              <a:ext uri="{FF2B5EF4-FFF2-40B4-BE49-F238E27FC236}">
                <a16:creationId xmlns:a16="http://schemas.microsoft.com/office/drawing/2014/main" id="{5BAC8498-C400-3675-A8B1-3E1519AB81C3}"/>
              </a:ext>
            </a:extLst>
          </p:cNvPr>
          <p:cNvSpPr>
            <a:spLocks noGrp="1"/>
          </p:cNvSpPr>
          <p:nvPr>
            <p:ph idx="10"/>
          </p:nvPr>
        </p:nvSpPr>
        <p:spPr>
          <a:xfrm>
            <a:off x="406400" y="4648200"/>
            <a:ext cx="11379200" cy="1447800"/>
          </a:xfrm>
          <a:prstGeom prst="rect">
            <a:avLst/>
          </a:prstGeom>
          <a:solidFill>
            <a:srgbClr val="E6EBF0"/>
          </a:solidFill>
          <a:ln w="15875" cap="rnd">
            <a:solidFill>
              <a:schemeClr val="bg1">
                <a:lumMod val="85000"/>
                <a:alpha val="59000"/>
              </a:scheme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1600" b="0">
                <a:solidFill>
                  <a:schemeClr val="accent1"/>
                </a:solidFill>
              </a:defRPr>
            </a:lvl1pPr>
            <a:lvl2pPr>
              <a:defRPr sz="1400">
                <a:solidFill>
                  <a:schemeClr val="tx1"/>
                </a:solidFill>
              </a:defRPr>
            </a:lvl2pPr>
            <a:lvl3pPr>
              <a:defRPr sz="12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7980716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ntent with Caption (Aqua)">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A0837FE-C71E-9CF6-AC64-3D795C3B5F1F}"/>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A2A5C917-3A9B-FEDC-2C2D-7DCD85F5C1DF}"/>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6" name="Straight Connector 5">
            <a:extLst>
              <a:ext uri="{FF2B5EF4-FFF2-40B4-BE49-F238E27FC236}">
                <a16:creationId xmlns:a16="http://schemas.microsoft.com/office/drawing/2014/main" id="{949D2196-8960-8007-C0C0-62EFA03EA586}"/>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F811FEB3-47F2-0622-E85A-BC25AB9BF116}"/>
              </a:ext>
            </a:extLst>
          </p:cNvPr>
          <p:cNvSpPr>
            <a:spLocks noGrp="1"/>
          </p:cNvSpPr>
          <p:nvPr>
            <p:ph idx="10"/>
          </p:nvPr>
        </p:nvSpPr>
        <p:spPr>
          <a:xfrm>
            <a:off x="406400" y="4648198"/>
            <a:ext cx="11379200" cy="1447802"/>
          </a:xfrm>
          <a:prstGeom prst="rect">
            <a:avLst/>
          </a:prstGeom>
          <a:solidFill>
            <a:schemeClr val="accent1">
              <a:lumMod val="20000"/>
              <a:lumOff val="80000"/>
            </a:schemeClr>
          </a:solidFill>
          <a:ln w="15875" cap="rnd">
            <a:solidFill>
              <a:srgbClr val="00AEC7">
                <a:alpha val="59000"/>
              </a:srgb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1600" b="0">
                <a:solidFill>
                  <a:schemeClr val="accent1"/>
                </a:solidFill>
              </a:defRPr>
            </a:lvl1pPr>
            <a:lvl2pPr>
              <a:defRPr sz="1400">
                <a:solidFill>
                  <a:schemeClr val="accent1"/>
                </a:solidFill>
              </a:defRPr>
            </a:lvl2pPr>
            <a:lvl3pPr>
              <a:defRPr sz="1200">
                <a:solidFill>
                  <a:schemeClr val="accent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3" name="Footer Placeholder 4">
            <a:extLst>
              <a:ext uri="{FF2B5EF4-FFF2-40B4-BE49-F238E27FC236}">
                <a16:creationId xmlns:a16="http://schemas.microsoft.com/office/drawing/2014/main" id="{15A3345B-D5C7-2F88-8026-20E44CDC1C8C}"/>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14" name="Slide Number Placeholder 5">
            <a:extLst>
              <a:ext uri="{FF2B5EF4-FFF2-40B4-BE49-F238E27FC236}">
                <a16:creationId xmlns:a16="http://schemas.microsoft.com/office/drawing/2014/main" id="{02DBDC06-CAF6-397A-E258-1B91B7BE4A6A}"/>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2" name="Content Placeholder 2">
            <a:extLst>
              <a:ext uri="{FF2B5EF4-FFF2-40B4-BE49-F238E27FC236}">
                <a16:creationId xmlns:a16="http://schemas.microsoft.com/office/drawing/2014/main" id="{1A157481-F789-46DE-2E72-928DE502142B}"/>
              </a:ext>
            </a:extLst>
          </p:cNvPr>
          <p:cNvSpPr>
            <a:spLocks noGrp="1"/>
          </p:cNvSpPr>
          <p:nvPr>
            <p:ph idx="1"/>
          </p:nvPr>
        </p:nvSpPr>
        <p:spPr>
          <a:xfrm>
            <a:off x="406400" y="762000"/>
            <a:ext cx="11379200" cy="3886198"/>
          </a:xfrm>
          <a:prstGeom prst="rect">
            <a:avLst/>
          </a:prstGeom>
        </p:spPr>
        <p:txBody>
          <a:bodyPr lIns="274320" tIns="274320" rIns="274320" bIns="274320"/>
          <a:lstStyle>
            <a:lvl1pPr marL="0" indent="0">
              <a:buNone/>
              <a:defRPr sz="2000" b="0">
                <a:solidFill>
                  <a:schemeClr val="tx1"/>
                </a:solidFill>
              </a:defRPr>
            </a:lvl1pPr>
            <a:lvl2pPr>
              <a:defRPr sz="2000">
                <a:solidFill>
                  <a:schemeClr val="tx1"/>
                </a:solidFill>
              </a:defRPr>
            </a:lvl2pPr>
            <a:lvl3pPr>
              <a:defRPr sz="18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5420353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ontent with Caption 2 (Gray Titl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DA98D29-CFFC-C296-B023-91A03EEC3E9D}"/>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DE12A03F-8D2E-8532-3203-031013FA5A10}"/>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6" name="Straight Connector 5">
            <a:extLst>
              <a:ext uri="{FF2B5EF4-FFF2-40B4-BE49-F238E27FC236}">
                <a16:creationId xmlns:a16="http://schemas.microsoft.com/office/drawing/2014/main" id="{2FFCD6A5-9B36-D9E5-72F2-FBEA5B672AB9}"/>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4EFC8874-25EC-5A5F-D57F-0691879F1F48}"/>
              </a:ext>
            </a:extLst>
          </p:cNvPr>
          <p:cNvSpPr>
            <a:spLocks noGrp="1"/>
          </p:cNvSpPr>
          <p:nvPr>
            <p:ph idx="1"/>
          </p:nvPr>
        </p:nvSpPr>
        <p:spPr>
          <a:xfrm>
            <a:off x="406400" y="762000"/>
            <a:ext cx="7416800" cy="5334000"/>
          </a:xfrm>
          <a:prstGeom prst="rect">
            <a:avLst/>
          </a:prstGeom>
        </p:spPr>
        <p:txBody>
          <a:bodyPr lIns="274320" tIns="274320" rIns="274320" bIns="274320"/>
          <a:lstStyle>
            <a:lvl1pPr marL="0" indent="0">
              <a:buNone/>
              <a:defRPr sz="2000" b="1">
                <a:solidFill>
                  <a:schemeClr val="tx1"/>
                </a:solidFill>
              </a:defRPr>
            </a:lvl1pPr>
            <a:lvl2pPr>
              <a:defRPr sz="1800">
                <a:solidFill>
                  <a:schemeClr val="tx2"/>
                </a:solidFill>
              </a:defRPr>
            </a:lvl2pPr>
            <a:lvl3pPr>
              <a:defRPr sz="1600">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8" name="Content Placeholder 2">
            <a:extLst>
              <a:ext uri="{FF2B5EF4-FFF2-40B4-BE49-F238E27FC236}">
                <a16:creationId xmlns:a16="http://schemas.microsoft.com/office/drawing/2014/main" id="{9D7C7B98-DF84-E7E1-CF67-1DA50AD90673}"/>
              </a:ext>
            </a:extLst>
          </p:cNvPr>
          <p:cNvSpPr>
            <a:spLocks noGrp="1"/>
          </p:cNvSpPr>
          <p:nvPr>
            <p:ph idx="10"/>
          </p:nvPr>
        </p:nvSpPr>
        <p:spPr>
          <a:xfrm>
            <a:off x="7823200" y="762000"/>
            <a:ext cx="3962400" cy="5334000"/>
          </a:xfrm>
          <a:prstGeom prst="rect">
            <a:avLst/>
          </a:prstGeom>
          <a:solidFill>
            <a:srgbClr val="E6EBF0"/>
          </a:solidFill>
          <a:ln w="15875" cap="rnd">
            <a:solidFill>
              <a:schemeClr val="bg1">
                <a:lumMod val="85000"/>
                <a:alpha val="62000"/>
              </a:scheme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1600" b="1">
                <a:solidFill>
                  <a:schemeClr val="tx1"/>
                </a:solidFill>
              </a:defRPr>
            </a:lvl1pPr>
            <a:lvl2pPr>
              <a:defRPr sz="1400" b="1">
                <a:solidFill>
                  <a:schemeClr val="tx1"/>
                </a:solidFill>
              </a:defRPr>
            </a:lvl2pPr>
            <a:lvl3pPr>
              <a:defRPr sz="1200" b="1">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0" name="Footer Placeholder 4">
            <a:extLst>
              <a:ext uri="{FF2B5EF4-FFF2-40B4-BE49-F238E27FC236}">
                <a16:creationId xmlns:a16="http://schemas.microsoft.com/office/drawing/2014/main" id="{D41AE20F-67AB-7F58-E5C0-B80B60EB4F25}"/>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11" name="Slide Number Placeholder 5">
            <a:extLst>
              <a:ext uri="{FF2B5EF4-FFF2-40B4-BE49-F238E27FC236}">
                <a16:creationId xmlns:a16="http://schemas.microsoft.com/office/drawing/2014/main" id="{BB40FEBA-A659-D520-0764-206779E237E9}"/>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22847822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Content with Caption 2 (Blue Titl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1C8B81A-95BD-E991-9B9F-3E9298BDDD8D}"/>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EBD1C03C-3DF7-A3DE-6887-F11B8EF5149C}"/>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6" name="Straight Connector 5">
            <a:extLst>
              <a:ext uri="{FF2B5EF4-FFF2-40B4-BE49-F238E27FC236}">
                <a16:creationId xmlns:a16="http://schemas.microsoft.com/office/drawing/2014/main" id="{BFB76CBF-9431-A50C-08E3-E8EE4F236149}"/>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Footer Placeholder 4">
            <a:extLst>
              <a:ext uri="{FF2B5EF4-FFF2-40B4-BE49-F238E27FC236}">
                <a16:creationId xmlns:a16="http://schemas.microsoft.com/office/drawing/2014/main" id="{DB59DB38-0284-35BB-FCF2-EAA64B408BD8}"/>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15" name="Slide Number Placeholder 5">
            <a:extLst>
              <a:ext uri="{FF2B5EF4-FFF2-40B4-BE49-F238E27FC236}">
                <a16:creationId xmlns:a16="http://schemas.microsoft.com/office/drawing/2014/main" id="{9556402B-DC9D-8431-8023-AD3352280539}"/>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2" name="Content Placeholder 2">
            <a:extLst>
              <a:ext uri="{FF2B5EF4-FFF2-40B4-BE49-F238E27FC236}">
                <a16:creationId xmlns:a16="http://schemas.microsoft.com/office/drawing/2014/main" id="{A26476B1-2B93-3388-ACFC-33AE1AE583DA}"/>
              </a:ext>
            </a:extLst>
          </p:cNvPr>
          <p:cNvSpPr>
            <a:spLocks noGrp="1"/>
          </p:cNvSpPr>
          <p:nvPr>
            <p:ph idx="1"/>
          </p:nvPr>
        </p:nvSpPr>
        <p:spPr>
          <a:xfrm>
            <a:off x="406400" y="762000"/>
            <a:ext cx="7416800" cy="5334000"/>
          </a:xfrm>
          <a:prstGeom prst="rect">
            <a:avLst/>
          </a:prstGeom>
        </p:spPr>
        <p:txBody>
          <a:bodyPr lIns="274320" tIns="274320" rIns="274320" bIns="274320"/>
          <a:lstStyle>
            <a:lvl1pPr marL="0" indent="0">
              <a:buNone/>
              <a:defRPr sz="2000" b="1">
                <a:solidFill>
                  <a:schemeClr val="tx1"/>
                </a:solidFill>
              </a:defRPr>
            </a:lvl1pPr>
            <a:lvl2pPr>
              <a:defRPr sz="1800">
                <a:solidFill>
                  <a:schemeClr val="tx2"/>
                </a:solidFill>
              </a:defRPr>
            </a:lvl2pPr>
            <a:lvl3pPr>
              <a:defRPr sz="1600">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4" name="Content Placeholder 2">
            <a:extLst>
              <a:ext uri="{FF2B5EF4-FFF2-40B4-BE49-F238E27FC236}">
                <a16:creationId xmlns:a16="http://schemas.microsoft.com/office/drawing/2014/main" id="{F463BB2B-CBD9-709B-A906-D89DFB66823B}"/>
              </a:ext>
            </a:extLst>
          </p:cNvPr>
          <p:cNvSpPr>
            <a:spLocks noGrp="1"/>
          </p:cNvSpPr>
          <p:nvPr>
            <p:ph idx="10"/>
          </p:nvPr>
        </p:nvSpPr>
        <p:spPr>
          <a:xfrm>
            <a:off x="7823200" y="762000"/>
            <a:ext cx="3962400" cy="5334000"/>
          </a:xfrm>
          <a:prstGeom prst="rect">
            <a:avLst/>
          </a:prstGeom>
          <a:solidFill>
            <a:srgbClr val="E6EBF0"/>
          </a:solidFill>
          <a:ln w="15875" cap="rnd">
            <a:solidFill>
              <a:schemeClr val="bg1">
                <a:lumMod val="85000"/>
                <a:alpha val="62000"/>
              </a:scheme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1600" b="1">
                <a:solidFill>
                  <a:schemeClr val="accent1"/>
                </a:solidFill>
              </a:defRPr>
            </a:lvl1pPr>
            <a:lvl2pPr>
              <a:defRPr sz="1400" b="0">
                <a:solidFill>
                  <a:schemeClr val="tx1"/>
                </a:solidFill>
              </a:defRPr>
            </a:lvl2pPr>
            <a:lvl3pPr>
              <a:defRPr sz="1200" b="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5821933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Quate with Captions (Aqu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7CE442-37B7-476C-9FE8-E96267B02A66}"/>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A0D15576-9FF6-A891-FEC4-42E2548A9FC7}"/>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6" name="Straight Connector 5">
            <a:extLst>
              <a:ext uri="{FF2B5EF4-FFF2-40B4-BE49-F238E27FC236}">
                <a16:creationId xmlns:a16="http://schemas.microsoft.com/office/drawing/2014/main" id="{8556E2A8-9379-D337-6383-63A755F631AD}"/>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Footer Placeholder 4">
            <a:extLst>
              <a:ext uri="{FF2B5EF4-FFF2-40B4-BE49-F238E27FC236}">
                <a16:creationId xmlns:a16="http://schemas.microsoft.com/office/drawing/2014/main" id="{3DA0FCEA-D36B-8171-D6EF-668CFAA3362D}"/>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11" name="Slide Number Placeholder 5">
            <a:extLst>
              <a:ext uri="{FF2B5EF4-FFF2-40B4-BE49-F238E27FC236}">
                <a16:creationId xmlns:a16="http://schemas.microsoft.com/office/drawing/2014/main" id="{2435EFE1-64FF-A596-7050-A720211A5B2B}"/>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3" name="Content Placeholder 2">
            <a:extLst>
              <a:ext uri="{FF2B5EF4-FFF2-40B4-BE49-F238E27FC236}">
                <a16:creationId xmlns:a16="http://schemas.microsoft.com/office/drawing/2014/main" id="{2F177308-3907-6CA9-7CB5-C0735CA9F2E4}"/>
              </a:ext>
            </a:extLst>
          </p:cNvPr>
          <p:cNvSpPr>
            <a:spLocks noGrp="1"/>
          </p:cNvSpPr>
          <p:nvPr>
            <p:ph idx="1"/>
          </p:nvPr>
        </p:nvSpPr>
        <p:spPr>
          <a:xfrm>
            <a:off x="406400" y="762000"/>
            <a:ext cx="7416800" cy="5334000"/>
          </a:xfrm>
          <a:prstGeom prst="rect">
            <a:avLst/>
          </a:prstGeom>
        </p:spPr>
        <p:txBody>
          <a:bodyPr lIns="274320" tIns="274320" rIns="274320" bIns="274320"/>
          <a:lstStyle>
            <a:lvl1pPr marL="0" indent="0">
              <a:buNone/>
              <a:defRPr sz="2000" b="1">
                <a:solidFill>
                  <a:schemeClr val="tx1"/>
                </a:solidFill>
              </a:defRPr>
            </a:lvl1pPr>
            <a:lvl2pPr>
              <a:defRPr sz="1800">
                <a:solidFill>
                  <a:schemeClr val="tx2"/>
                </a:solidFill>
              </a:defRPr>
            </a:lvl2pPr>
            <a:lvl3pPr>
              <a:defRPr sz="1600">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7" name="Content Placeholder 2">
            <a:extLst>
              <a:ext uri="{FF2B5EF4-FFF2-40B4-BE49-F238E27FC236}">
                <a16:creationId xmlns:a16="http://schemas.microsoft.com/office/drawing/2014/main" id="{4E75F68D-3D9A-6D91-3F0D-447EAB2D4871}"/>
              </a:ext>
            </a:extLst>
          </p:cNvPr>
          <p:cNvSpPr>
            <a:spLocks noGrp="1"/>
          </p:cNvSpPr>
          <p:nvPr>
            <p:ph idx="10"/>
          </p:nvPr>
        </p:nvSpPr>
        <p:spPr>
          <a:xfrm>
            <a:off x="7823200" y="762000"/>
            <a:ext cx="3962400" cy="5334000"/>
          </a:xfrm>
          <a:prstGeom prst="rect">
            <a:avLst/>
          </a:prstGeom>
          <a:solidFill>
            <a:schemeClr val="accent1">
              <a:lumMod val="20000"/>
              <a:lumOff val="80000"/>
            </a:schemeClr>
          </a:solidFill>
          <a:ln w="15875" cap="rnd">
            <a:solidFill>
              <a:srgbClr val="00AEC7">
                <a:alpha val="62000"/>
              </a:srgb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1600" b="1">
                <a:solidFill>
                  <a:schemeClr val="tx1"/>
                </a:solidFill>
              </a:defRPr>
            </a:lvl1pPr>
            <a:lvl2pPr>
              <a:defRPr sz="1400" b="0">
                <a:solidFill>
                  <a:schemeClr val="tx1"/>
                </a:solidFill>
              </a:defRPr>
            </a:lvl2pPr>
            <a:lvl3pPr>
              <a:defRPr sz="1200" b="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4027890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hape Background with Colu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4BF0DE-C10A-1045-5990-B1FA49AF9EB7}"/>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371C69C7-7D39-DEDD-BE1B-B8C046B0CA95}"/>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6" name="Straight Connector 5">
            <a:extLst>
              <a:ext uri="{FF2B5EF4-FFF2-40B4-BE49-F238E27FC236}">
                <a16:creationId xmlns:a16="http://schemas.microsoft.com/office/drawing/2014/main" id="{ADE78E12-A908-1977-15C5-27DAB2FF2F2B}"/>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Footer Placeholder 4">
            <a:extLst>
              <a:ext uri="{FF2B5EF4-FFF2-40B4-BE49-F238E27FC236}">
                <a16:creationId xmlns:a16="http://schemas.microsoft.com/office/drawing/2014/main" id="{CEE2A56D-1F8F-6D34-5142-3AFE504C04F2}"/>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13" name="Slide Number Placeholder 5">
            <a:extLst>
              <a:ext uri="{FF2B5EF4-FFF2-40B4-BE49-F238E27FC236}">
                <a16:creationId xmlns:a16="http://schemas.microsoft.com/office/drawing/2014/main" id="{19A953EB-673D-F477-0F68-19BB33084976}"/>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3" name="Text Placeholder 6">
            <a:extLst>
              <a:ext uri="{FF2B5EF4-FFF2-40B4-BE49-F238E27FC236}">
                <a16:creationId xmlns:a16="http://schemas.microsoft.com/office/drawing/2014/main" id="{18275120-314C-AFBD-B170-4B990F0EFBAF}"/>
              </a:ext>
            </a:extLst>
          </p:cNvPr>
          <p:cNvSpPr>
            <a:spLocks noGrp="1"/>
          </p:cNvSpPr>
          <p:nvPr>
            <p:ph type="body" sz="half" idx="17"/>
          </p:nvPr>
        </p:nvSpPr>
        <p:spPr>
          <a:xfrm>
            <a:off x="605768" y="1066801"/>
            <a:ext cx="11179833" cy="2191369"/>
          </a:xfrm>
          <a:prstGeom prst="rect">
            <a:avLst/>
          </a:prstGeom>
          <a:solidFill>
            <a:schemeClr val="accent1">
              <a:lumMod val="20000"/>
              <a:lumOff val="80000"/>
            </a:schemeClr>
          </a:solidFill>
          <a:ln w="15875" cap="rnd" cmpd="sng">
            <a:solidFill>
              <a:schemeClr val="accent1"/>
            </a:solidFill>
            <a:miter lim="800000"/>
          </a:ln>
          <a:effectLst>
            <a:outerShdw blurRad="50800" dist="38100" dir="2700000" algn="tl" rotWithShape="0">
              <a:prstClr val="black">
                <a:alpha val="40000"/>
              </a:prstClr>
            </a:outerShdw>
          </a:effectLst>
        </p:spPr>
        <p:txBody>
          <a:bodyPr wrap="square" lIns="182880" tIns="182880" rIns="182880" bIns="182880" numCol="2" spcCol="548640">
            <a:spAutoFit/>
          </a:bodyPr>
          <a:lstStyle>
            <a:lvl1pPr marL="0" indent="0">
              <a:buNone/>
              <a:defRPr sz="2000">
                <a:solidFill>
                  <a:schemeClr val="tx2"/>
                </a:solidFill>
              </a:defRPr>
            </a:lvl1pPr>
            <a:lvl2pPr>
              <a:defRPr sz="1800">
                <a:solidFill>
                  <a:schemeClr val="accent2"/>
                </a:solidFill>
              </a:defRPr>
            </a:lvl2pPr>
            <a:lvl3pPr>
              <a:defRPr sz="1600">
                <a:solidFill>
                  <a:schemeClr val="accent2"/>
                </a:solidFill>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a:extLst>
              <a:ext uri="{FF2B5EF4-FFF2-40B4-BE49-F238E27FC236}">
                <a16:creationId xmlns:a16="http://schemas.microsoft.com/office/drawing/2014/main" id="{9C95B286-9A86-1DCC-052D-7E695490B198}"/>
              </a:ext>
            </a:extLst>
          </p:cNvPr>
          <p:cNvSpPr>
            <a:spLocks noGrp="1"/>
          </p:cNvSpPr>
          <p:nvPr>
            <p:ph type="body" sz="half" idx="18"/>
          </p:nvPr>
        </p:nvSpPr>
        <p:spPr>
          <a:xfrm>
            <a:off x="605768" y="3574375"/>
            <a:ext cx="11179833" cy="2277547"/>
          </a:xfrm>
          <a:prstGeom prst="rect">
            <a:avLst/>
          </a:prstGeom>
          <a:solidFill>
            <a:srgbClr val="093C61"/>
          </a:solidFill>
          <a:ln w="15875" cap="rnd" cmpd="sng">
            <a:solidFill>
              <a:srgbClr val="093C61"/>
            </a:solidFill>
            <a:miter lim="800000"/>
          </a:ln>
          <a:effectLst>
            <a:outerShdw blurRad="50800" dist="38100" dir="2700000" algn="tl" rotWithShape="0">
              <a:prstClr val="black">
                <a:alpha val="40000"/>
              </a:prstClr>
            </a:outerShdw>
          </a:effectLst>
        </p:spPr>
        <p:txBody>
          <a:bodyPr wrap="square" lIns="182880" tIns="182880" rIns="182880" bIns="182880" numCol="3" spcCol="548640">
            <a:spAutoFit/>
          </a:bodyPr>
          <a:lstStyle>
            <a:lvl1pPr marL="0" indent="0">
              <a:buNone/>
              <a:defRPr sz="2000">
                <a:solidFill>
                  <a:schemeClr val="bg1"/>
                </a:solidFill>
              </a:defRPr>
            </a:lvl1pPr>
            <a:lvl2pPr>
              <a:defRPr sz="1800">
                <a:solidFill>
                  <a:schemeClr val="bg1"/>
                </a:solidFill>
              </a:defRPr>
            </a:lvl2pPr>
            <a:lvl3pPr marL="914400" indent="0">
              <a:buNone/>
              <a:defRPr sz="1600">
                <a:solidFill>
                  <a:schemeClr val="bg1"/>
                </a:solidFill>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897444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2 Colum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solidFill>
                  <a:prstClr val="black">
                    <a:tint val="75000"/>
                  </a:prstClr>
                </a:solidFill>
              </a:rPr>
              <a:t>Use or disclosure of information contained on this page is subject to the restrictions on the title page.</a:t>
            </a:r>
          </a:p>
        </p:txBody>
      </p:sp>
      <p:sp>
        <p:nvSpPr>
          <p:cNvPr id="5" name="Content Placeholder 4"/>
          <p:cNvSpPr>
            <a:spLocks noGrp="1"/>
          </p:cNvSpPr>
          <p:nvPr>
            <p:ph sz="half" idx="1"/>
          </p:nvPr>
        </p:nvSpPr>
        <p:spPr>
          <a:xfrm>
            <a:off x="406400" y="762000"/>
            <a:ext cx="5613400" cy="5029201"/>
          </a:xfrm>
          <a:prstGeom prst="rect">
            <a:avLst/>
          </a:prstGeom>
        </p:spPr>
        <p:txBody>
          <a:bodyPr lIns="274320" tIns="274320" rIns="274320" bIns="274320"/>
          <a:lstStyle>
            <a:lvl1pPr>
              <a:defRPr lang="en-US" sz="2000" dirty="0">
                <a:solidFill>
                  <a:schemeClr val="tx1"/>
                </a:solidFill>
              </a:defRPr>
            </a:lvl1pPr>
          </a:lstStyle>
          <a:p>
            <a:pPr lvl="0"/>
            <a:r>
              <a:rPr lang="en-US"/>
              <a:t>Click to edit Master text styles</a:t>
            </a:r>
          </a:p>
        </p:txBody>
      </p:sp>
      <p:sp>
        <p:nvSpPr>
          <p:cNvPr id="7" name="Title 1"/>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8" name="Rectangle 7"/>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9" name="Straight Connector 8"/>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lide Number Placeholder 5">
            <a:extLst>
              <a:ext uri="{FF2B5EF4-FFF2-40B4-BE49-F238E27FC236}">
                <a16:creationId xmlns:a16="http://schemas.microsoft.com/office/drawing/2014/main" id="{4EF78B07-4E0F-444F-3584-E6AC1A3DDB02}"/>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2" name="Content Placeholder 4">
            <a:extLst>
              <a:ext uri="{FF2B5EF4-FFF2-40B4-BE49-F238E27FC236}">
                <a16:creationId xmlns:a16="http://schemas.microsoft.com/office/drawing/2014/main" id="{F102CE92-D29A-FB05-C2BE-5719859D9A95}"/>
              </a:ext>
            </a:extLst>
          </p:cNvPr>
          <p:cNvSpPr>
            <a:spLocks noGrp="1"/>
          </p:cNvSpPr>
          <p:nvPr>
            <p:ph sz="half" idx="11"/>
          </p:nvPr>
        </p:nvSpPr>
        <p:spPr>
          <a:xfrm>
            <a:off x="6172200" y="762000"/>
            <a:ext cx="5613400" cy="5029201"/>
          </a:xfrm>
          <a:prstGeom prst="rect">
            <a:avLst/>
          </a:prstGeom>
        </p:spPr>
        <p:txBody>
          <a:bodyPr lIns="274320" tIns="274320" rIns="274320" bIns="274320"/>
          <a:lstStyle>
            <a:lvl1pPr>
              <a:defRPr lang="en-US" sz="2000" dirty="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98250317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solidFill>
                  <a:prstClr val="black">
                    <a:tint val="75000"/>
                  </a:prstClr>
                </a:solidFill>
              </a:rPr>
              <a:t>Use or disclosure of information contained on this page is subject to the restrictions on the title page.</a:t>
            </a:r>
          </a:p>
        </p:txBody>
      </p:sp>
      <p:sp>
        <p:nvSpPr>
          <p:cNvPr id="7" name="Title 1"/>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8" name="Rectangle 7"/>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9" name="Straight Connector 8"/>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Text Placeholder 2">
            <a:extLst>
              <a:ext uri="{FF2B5EF4-FFF2-40B4-BE49-F238E27FC236}">
                <a16:creationId xmlns:a16="http://schemas.microsoft.com/office/drawing/2014/main" id="{A2E64688-55C6-E357-9586-99D476DEA0E8}"/>
              </a:ext>
            </a:extLst>
          </p:cNvPr>
          <p:cNvSpPr>
            <a:spLocks noGrp="1"/>
          </p:cNvSpPr>
          <p:nvPr>
            <p:ph type="body" idx="1"/>
          </p:nvPr>
        </p:nvSpPr>
        <p:spPr>
          <a:xfrm>
            <a:off x="508000" y="1240594"/>
            <a:ext cx="3657600" cy="576262"/>
          </a:xfrm>
          <a:prstGeom prst="rect">
            <a:avLst/>
          </a:prstGeom>
        </p:spPr>
        <p:txBody>
          <a:bodyPr/>
          <a:lstStyle>
            <a:lvl1pPr marL="0" indent="0">
              <a:buFontTx/>
              <a:buNone/>
              <a:defRPr sz="2000">
                <a:solidFill>
                  <a:srgbClr val="00AEC7"/>
                </a:solidFill>
                <a:latin typeface="+mj-lt"/>
              </a:defRPr>
            </a:lvl1pPr>
          </a:lstStyle>
          <a:p>
            <a:pPr lvl="0"/>
            <a:r>
              <a:rPr lang="en-US"/>
              <a:t>Click to edit Master text styles</a:t>
            </a:r>
          </a:p>
        </p:txBody>
      </p:sp>
      <p:sp>
        <p:nvSpPr>
          <p:cNvPr id="22" name="Text Placeholder 6">
            <a:extLst>
              <a:ext uri="{FF2B5EF4-FFF2-40B4-BE49-F238E27FC236}">
                <a16:creationId xmlns:a16="http://schemas.microsoft.com/office/drawing/2014/main" id="{5647BB42-DB2F-5A0E-E38E-6058202FE98E}"/>
              </a:ext>
            </a:extLst>
          </p:cNvPr>
          <p:cNvSpPr>
            <a:spLocks noGrp="1"/>
          </p:cNvSpPr>
          <p:nvPr>
            <p:ph type="body" sz="half" idx="15"/>
          </p:nvPr>
        </p:nvSpPr>
        <p:spPr>
          <a:xfrm>
            <a:off x="534021" y="1926394"/>
            <a:ext cx="3657600" cy="3941006"/>
          </a:xfrm>
          <a:prstGeom prst="rect">
            <a:avLst/>
          </a:prstGeom>
        </p:spPr>
        <p:txBody>
          <a:bodyPr/>
          <a:lstStyle>
            <a:lvl1pPr>
              <a:defRPr sz="1400">
                <a:solidFill>
                  <a:schemeClr val="tx1"/>
                </a:solidFill>
              </a:defRPr>
            </a:lvl1pPr>
          </a:lstStyle>
          <a:p>
            <a:pPr lvl="0"/>
            <a:r>
              <a:rPr lang="en-US"/>
              <a:t>Click to edit Master text styles</a:t>
            </a:r>
          </a:p>
        </p:txBody>
      </p:sp>
      <p:sp>
        <p:nvSpPr>
          <p:cNvPr id="23" name="Text Placeholder 2">
            <a:extLst>
              <a:ext uri="{FF2B5EF4-FFF2-40B4-BE49-F238E27FC236}">
                <a16:creationId xmlns:a16="http://schemas.microsoft.com/office/drawing/2014/main" id="{ACFE8832-28AD-B47C-8C26-31B963CA9E5A}"/>
              </a:ext>
            </a:extLst>
          </p:cNvPr>
          <p:cNvSpPr>
            <a:spLocks noGrp="1"/>
          </p:cNvSpPr>
          <p:nvPr>
            <p:ph type="body" idx="16"/>
          </p:nvPr>
        </p:nvSpPr>
        <p:spPr>
          <a:xfrm>
            <a:off x="4267200" y="1240594"/>
            <a:ext cx="3657600" cy="576262"/>
          </a:xfrm>
          <a:prstGeom prst="rect">
            <a:avLst/>
          </a:prstGeom>
        </p:spPr>
        <p:txBody>
          <a:bodyPr/>
          <a:lstStyle>
            <a:lvl1pPr marL="0" indent="0">
              <a:buNone/>
              <a:defRPr sz="2000">
                <a:solidFill>
                  <a:srgbClr val="00AEC7"/>
                </a:solidFill>
                <a:latin typeface="+mj-lt"/>
              </a:defRPr>
            </a:lvl1pPr>
          </a:lstStyle>
          <a:p>
            <a:pPr lvl="0"/>
            <a:r>
              <a:rPr lang="en-US"/>
              <a:t>Click to edit Master text styles</a:t>
            </a:r>
          </a:p>
        </p:txBody>
      </p:sp>
      <p:sp>
        <p:nvSpPr>
          <p:cNvPr id="24" name="Text Placeholder 6">
            <a:extLst>
              <a:ext uri="{FF2B5EF4-FFF2-40B4-BE49-F238E27FC236}">
                <a16:creationId xmlns:a16="http://schemas.microsoft.com/office/drawing/2014/main" id="{2945EFAC-694A-3BD3-547B-6671ECA14576}"/>
              </a:ext>
            </a:extLst>
          </p:cNvPr>
          <p:cNvSpPr>
            <a:spLocks noGrp="1"/>
          </p:cNvSpPr>
          <p:nvPr>
            <p:ph type="body" sz="half" idx="17"/>
          </p:nvPr>
        </p:nvSpPr>
        <p:spPr>
          <a:xfrm>
            <a:off x="4293221" y="1926394"/>
            <a:ext cx="3657600" cy="3941006"/>
          </a:xfrm>
          <a:prstGeom prst="rect">
            <a:avLst/>
          </a:prstGeom>
        </p:spPr>
        <p:txBody>
          <a:bodyPr/>
          <a:lstStyle>
            <a:lvl1pPr>
              <a:defRPr sz="1400">
                <a:solidFill>
                  <a:schemeClr val="tx1"/>
                </a:solidFill>
              </a:defRPr>
            </a:lvl1pPr>
          </a:lstStyle>
          <a:p>
            <a:pPr lvl="0"/>
            <a:r>
              <a:rPr lang="en-US"/>
              <a:t>Click to edit Master text styles</a:t>
            </a:r>
          </a:p>
        </p:txBody>
      </p:sp>
      <p:sp>
        <p:nvSpPr>
          <p:cNvPr id="25" name="Text Placeholder 2">
            <a:extLst>
              <a:ext uri="{FF2B5EF4-FFF2-40B4-BE49-F238E27FC236}">
                <a16:creationId xmlns:a16="http://schemas.microsoft.com/office/drawing/2014/main" id="{559C7A71-BBBF-254C-4D14-5F4DC1F4ED33}"/>
              </a:ext>
            </a:extLst>
          </p:cNvPr>
          <p:cNvSpPr>
            <a:spLocks noGrp="1"/>
          </p:cNvSpPr>
          <p:nvPr>
            <p:ph type="body" idx="18"/>
          </p:nvPr>
        </p:nvSpPr>
        <p:spPr>
          <a:xfrm>
            <a:off x="8000379" y="1237099"/>
            <a:ext cx="3657600" cy="576262"/>
          </a:xfrm>
          <a:prstGeom prst="rect">
            <a:avLst/>
          </a:prstGeom>
        </p:spPr>
        <p:txBody>
          <a:bodyPr/>
          <a:lstStyle>
            <a:lvl1pPr marL="0" indent="0">
              <a:buFontTx/>
              <a:buNone/>
              <a:defRPr sz="2000">
                <a:solidFill>
                  <a:srgbClr val="00AEC7"/>
                </a:solidFill>
                <a:latin typeface="+mj-lt"/>
              </a:defRPr>
            </a:lvl1pPr>
          </a:lstStyle>
          <a:p>
            <a:pPr lvl="0"/>
            <a:r>
              <a:rPr lang="en-US"/>
              <a:t>Click to edit Master text styles</a:t>
            </a:r>
          </a:p>
        </p:txBody>
      </p:sp>
      <p:sp>
        <p:nvSpPr>
          <p:cNvPr id="26" name="Text Placeholder 6">
            <a:extLst>
              <a:ext uri="{FF2B5EF4-FFF2-40B4-BE49-F238E27FC236}">
                <a16:creationId xmlns:a16="http://schemas.microsoft.com/office/drawing/2014/main" id="{B003D11D-EC33-ECB2-82CF-2D9A887EAC5E}"/>
              </a:ext>
            </a:extLst>
          </p:cNvPr>
          <p:cNvSpPr>
            <a:spLocks noGrp="1"/>
          </p:cNvSpPr>
          <p:nvPr>
            <p:ph type="body" sz="half" idx="19"/>
          </p:nvPr>
        </p:nvSpPr>
        <p:spPr>
          <a:xfrm>
            <a:off x="8026400" y="1922899"/>
            <a:ext cx="3657600" cy="3941006"/>
          </a:xfrm>
          <a:prstGeom prst="rect">
            <a:avLst/>
          </a:prstGeom>
        </p:spPr>
        <p:txBody>
          <a:bodyPr/>
          <a:lstStyle>
            <a:lvl1pPr>
              <a:defRPr sz="1400">
                <a:solidFill>
                  <a:schemeClr val="tx1"/>
                </a:solidFill>
              </a:defRPr>
            </a:lvl1pPr>
          </a:lstStyle>
          <a:p>
            <a:pPr lvl="0"/>
            <a:r>
              <a:rPr lang="en-US"/>
              <a:t>Click to edit Master text styles</a:t>
            </a:r>
          </a:p>
        </p:txBody>
      </p:sp>
      <p:sp>
        <p:nvSpPr>
          <p:cNvPr id="27" name="Slide Number Placeholder 5">
            <a:extLst>
              <a:ext uri="{FF2B5EF4-FFF2-40B4-BE49-F238E27FC236}">
                <a16:creationId xmlns:a16="http://schemas.microsoft.com/office/drawing/2014/main" id="{3C43E465-E8F7-518D-DB0A-14D6D4108527}"/>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375604033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3 Column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solidFill>
                  <a:prstClr val="black">
                    <a:tint val="75000"/>
                  </a:prstClr>
                </a:solidFill>
              </a:rPr>
              <a:t>Use or disclosure of information contained on this page is subject to the restrictions on the title page.</a:t>
            </a:r>
          </a:p>
        </p:txBody>
      </p:sp>
      <p:sp>
        <p:nvSpPr>
          <p:cNvPr id="7" name="Title 1"/>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8" name="Rectangle 7"/>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9" name="Straight Connector 8"/>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E8A51F0A-9475-9DAE-242E-33E187825E26}"/>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10" name="Content Placeholder 4">
            <a:extLst>
              <a:ext uri="{FF2B5EF4-FFF2-40B4-BE49-F238E27FC236}">
                <a16:creationId xmlns:a16="http://schemas.microsoft.com/office/drawing/2014/main" id="{1C3F1F4B-3D53-13EB-F7A7-FBE1490E5A12}"/>
              </a:ext>
            </a:extLst>
          </p:cNvPr>
          <p:cNvSpPr>
            <a:spLocks noGrp="1"/>
          </p:cNvSpPr>
          <p:nvPr>
            <p:ph sz="half" idx="1"/>
          </p:nvPr>
        </p:nvSpPr>
        <p:spPr>
          <a:xfrm>
            <a:off x="406400" y="838199"/>
            <a:ext cx="3479800" cy="5029201"/>
          </a:xfrm>
          <a:prstGeom prst="rect">
            <a:avLst/>
          </a:prstGeom>
        </p:spPr>
        <p:txBody>
          <a:bodyPr lIns="274320" tIns="274320" rIns="274320" bIns="274320"/>
          <a:lstStyle>
            <a:lvl1pPr>
              <a:defRPr lang="en-US" sz="2000" dirty="0">
                <a:solidFill>
                  <a:schemeClr val="tx1"/>
                </a:solidFill>
              </a:defRPr>
            </a:lvl1pPr>
          </a:lstStyle>
          <a:p>
            <a:pPr lvl="0"/>
            <a:r>
              <a:rPr lang="en-US"/>
              <a:t>Click to edit Master text styles</a:t>
            </a:r>
          </a:p>
        </p:txBody>
      </p:sp>
      <p:sp>
        <p:nvSpPr>
          <p:cNvPr id="13" name="Content Placeholder 4">
            <a:extLst>
              <a:ext uri="{FF2B5EF4-FFF2-40B4-BE49-F238E27FC236}">
                <a16:creationId xmlns:a16="http://schemas.microsoft.com/office/drawing/2014/main" id="{8969C8AB-1BCA-24D0-736D-93C929E8286C}"/>
              </a:ext>
            </a:extLst>
          </p:cNvPr>
          <p:cNvSpPr>
            <a:spLocks noGrp="1"/>
          </p:cNvSpPr>
          <p:nvPr>
            <p:ph sz="half" idx="11"/>
          </p:nvPr>
        </p:nvSpPr>
        <p:spPr>
          <a:xfrm>
            <a:off x="4356100" y="838199"/>
            <a:ext cx="3479800" cy="5029201"/>
          </a:xfrm>
          <a:prstGeom prst="rect">
            <a:avLst/>
          </a:prstGeom>
        </p:spPr>
        <p:txBody>
          <a:bodyPr lIns="274320" tIns="274320" rIns="274320" bIns="274320"/>
          <a:lstStyle>
            <a:lvl1pPr>
              <a:defRPr lang="en-US" sz="2000" dirty="0">
                <a:solidFill>
                  <a:schemeClr val="tx1"/>
                </a:solidFill>
              </a:defRPr>
            </a:lvl1pPr>
          </a:lstStyle>
          <a:p>
            <a:pPr lvl="0"/>
            <a:r>
              <a:rPr lang="en-US"/>
              <a:t>Click to edit Master text styles</a:t>
            </a:r>
          </a:p>
        </p:txBody>
      </p:sp>
      <p:sp>
        <p:nvSpPr>
          <p:cNvPr id="15" name="Content Placeholder 4">
            <a:extLst>
              <a:ext uri="{FF2B5EF4-FFF2-40B4-BE49-F238E27FC236}">
                <a16:creationId xmlns:a16="http://schemas.microsoft.com/office/drawing/2014/main" id="{4C6A27E7-4D0F-AFA6-D74E-7A37DB1ACC12}"/>
              </a:ext>
            </a:extLst>
          </p:cNvPr>
          <p:cNvSpPr>
            <a:spLocks noGrp="1"/>
          </p:cNvSpPr>
          <p:nvPr>
            <p:ph sz="half" idx="12"/>
          </p:nvPr>
        </p:nvSpPr>
        <p:spPr>
          <a:xfrm>
            <a:off x="8305800" y="838199"/>
            <a:ext cx="3479800" cy="5029201"/>
          </a:xfrm>
          <a:prstGeom prst="rect">
            <a:avLst/>
          </a:prstGeom>
        </p:spPr>
        <p:txBody>
          <a:bodyPr lIns="274320" tIns="274320" rIns="274320" bIns="274320"/>
          <a:lstStyle>
            <a:lvl1pPr>
              <a:defRPr lang="en-US" sz="2000" dirty="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5071644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1911073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588F4971-5E5D-8035-60C6-B80F3F8A7661}"/>
              </a:ext>
            </a:extLst>
          </p:cNvPr>
          <p:cNvSpPr/>
          <p:nvPr userDrawn="1"/>
        </p:nvSpPr>
        <p:spPr bwMode="white">
          <a:xfrm>
            <a:off x="3176" y="0"/>
            <a:ext cx="12188824" cy="6858006"/>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4" name="Rectangle 13">
            <a:extLst>
              <a:ext uri="{FF2B5EF4-FFF2-40B4-BE49-F238E27FC236}">
                <a16:creationId xmlns:a16="http://schemas.microsoft.com/office/drawing/2014/main" id="{563ED25A-5762-904F-3F92-D7937C715A72}"/>
              </a:ext>
            </a:extLst>
          </p:cNvPr>
          <p:cNvSpPr/>
          <p:nvPr userDrawn="1"/>
        </p:nvSpPr>
        <p:spPr>
          <a:xfrm>
            <a:off x="11379203" y="6477005"/>
            <a:ext cx="711199" cy="381001"/>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15" name="Rectangle 14">
            <a:extLst>
              <a:ext uri="{FF2B5EF4-FFF2-40B4-BE49-F238E27FC236}">
                <a16:creationId xmlns:a16="http://schemas.microsoft.com/office/drawing/2014/main" id="{102277B1-FB55-22A2-37BA-32F24F6395BB}"/>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1117600" y="4061922"/>
            <a:ext cx="10519663" cy="677108"/>
          </a:xfrm>
        </p:spPr>
        <p:txBody>
          <a:bodyPr vert="horz" anchor="b">
            <a:noAutofit/>
          </a:bodyPr>
          <a:lstStyle>
            <a:lvl1pPr rtl="0">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1117600"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0" name="Picture 9">
            <a:extLst>
              <a:ext uri="{FF2B5EF4-FFF2-40B4-BE49-F238E27FC236}">
                <a16:creationId xmlns:a16="http://schemas.microsoft.com/office/drawing/2014/main" id="{57F3A73C-8DF1-D9F0-0631-1DBAB0EB6CA2}"/>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94035" y="5382386"/>
            <a:ext cx="1253765" cy="485014"/>
          </a:xfrm>
          <a:prstGeom prst="rect">
            <a:avLst/>
          </a:prstGeom>
        </p:spPr>
      </p:pic>
      <p:cxnSp>
        <p:nvCxnSpPr>
          <p:cNvPr id="4" name="Straight Connector 3">
            <a:extLst>
              <a:ext uri="{FF2B5EF4-FFF2-40B4-BE49-F238E27FC236}">
                <a16:creationId xmlns:a16="http://schemas.microsoft.com/office/drawing/2014/main" id="{56E1389C-9525-BA56-F554-31A26DE35822}"/>
              </a:ext>
            </a:extLst>
          </p:cNvPr>
          <p:cNvCxnSpPr>
            <a:cxnSpLocks/>
          </p:cNvCxnSpPr>
          <p:nvPr userDrawn="1"/>
        </p:nvCxnSpPr>
        <p:spPr>
          <a:xfrm>
            <a:off x="779283" y="6"/>
            <a:ext cx="0" cy="5181594"/>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476FC9CB-1878-A9C1-553E-61246DB85AA6}"/>
              </a:ext>
            </a:extLst>
          </p:cNvPr>
          <p:cNvCxnSpPr>
            <a:cxnSpLocks/>
          </p:cNvCxnSpPr>
          <p:nvPr userDrawn="1"/>
        </p:nvCxnSpPr>
        <p:spPr>
          <a:xfrm>
            <a:off x="779282" y="5943600"/>
            <a:ext cx="0" cy="53340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39009E5-64F2-E6FE-DA65-9E1834004B08}"/>
              </a:ext>
            </a:extLst>
          </p:cNvPr>
          <p:cNvCxnSpPr>
            <a:cxnSpLocks/>
          </p:cNvCxnSpPr>
          <p:nvPr userDrawn="1"/>
        </p:nvCxnSpPr>
        <p:spPr>
          <a:xfrm>
            <a:off x="779282" y="6477005"/>
            <a:ext cx="11412717"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3319CC41-E482-6B70-8A87-D13CC91C9F8F}"/>
              </a:ext>
            </a:extLst>
          </p:cNvPr>
          <p:cNvSpPr txBox="1"/>
          <p:nvPr userDrawn="1"/>
        </p:nvSpPr>
        <p:spPr>
          <a:xfrm>
            <a:off x="685800" y="6553200"/>
            <a:ext cx="935921" cy="246221"/>
          </a:xfrm>
          <a:prstGeom prst="rect">
            <a:avLst/>
          </a:prstGeom>
          <a:noFill/>
        </p:spPr>
        <p:txBody>
          <a:bodyPr wrap="square" rtlCol="0">
            <a:spAutoFit/>
          </a:bodyPr>
          <a:lstStyle/>
          <a:p>
            <a:r>
              <a:rPr lang="en-US" sz="1000" b="1">
                <a:solidFill>
                  <a:srgbClr val="5B6770"/>
                </a:solidFill>
              </a:rPr>
              <a:t>PUBLIC</a:t>
            </a:r>
          </a:p>
        </p:txBody>
      </p:sp>
    </p:spTree>
    <p:extLst>
      <p:ext uri="{BB962C8B-B14F-4D97-AF65-F5344CB8AC3E}">
        <p14:creationId xmlns:p14="http://schemas.microsoft.com/office/powerpoint/2010/main" val="24970631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Slide with Shape">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US">
                <a:solidFill>
                  <a:prstClr val="black">
                    <a:tint val="75000"/>
                  </a:prstClr>
                </a:solidFill>
              </a:rPr>
              <a:t>Use or disclosure of information contained on this page is subject to the restrictions on the title page.</a:t>
            </a:r>
          </a:p>
        </p:txBody>
      </p:sp>
      <p:graphicFrame>
        <p:nvGraphicFramePr>
          <p:cNvPr id="8" name="Diagram 7">
            <a:extLst>
              <a:ext uri="{FF2B5EF4-FFF2-40B4-BE49-F238E27FC236}">
                <a16:creationId xmlns:a16="http://schemas.microsoft.com/office/drawing/2014/main" id="{F9EE3F64-5084-626C-72A7-533838A69759}"/>
              </a:ext>
            </a:extLst>
          </p:cNvPr>
          <p:cNvGraphicFramePr/>
          <p:nvPr>
            <p:extLst>
              <p:ext uri="{D42A27DB-BD31-4B8C-83A1-F6EECF244321}">
                <p14:modId xmlns:p14="http://schemas.microsoft.com/office/powerpoint/2010/main" val="2536825941"/>
              </p:ext>
            </p:extLst>
          </p:nvPr>
        </p:nvGraphicFramePr>
        <p:xfrm>
          <a:off x="406400" y="762000"/>
          <a:ext cx="11379200" cy="5486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itle 1">
            <a:extLst>
              <a:ext uri="{FF2B5EF4-FFF2-40B4-BE49-F238E27FC236}">
                <a16:creationId xmlns:a16="http://schemas.microsoft.com/office/drawing/2014/main" id="{440F2B08-EC92-A561-8BE4-EDCE8DB34555}"/>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10" name="Rectangle 9">
            <a:extLst>
              <a:ext uri="{FF2B5EF4-FFF2-40B4-BE49-F238E27FC236}">
                <a16:creationId xmlns:a16="http://schemas.microsoft.com/office/drawing/2014/main" id="{41FF5FC3-0BB0-C369-E541-DAB7BF2A7B43}"/>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11" name="Slide Number Placeholder 5">
            <a:extLst>
              <a:ext uri="{FF2B5EF4-FFF2-40B4-BE49-F238E27FC236}">
                <a16:creationId xmlns:a16="http://schemas.microsoft.com/office/drawing/2014/main" id="{7E1BA5E2-F942-F1C0-42B8-24244D128FAF}"/>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22279879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Title">
    <p:bg>
      <p:bgPr>
        <a:solidFill>
          <a:srgbClr val="FFFFFF"/>
        </a:solidFill>
        <a:effectLst/>
      </p:bgPr>
    </p:bg>
    <p:spTree>
      <p:nvGrpSpPr>
        <p:cNvPr id="1" name=""/>
        <p:cNvGrpSpPr/>
        <p:nvPr/>
      </p:nvGrpSpPr>
      <p:grpSpPr>
        <a:xfrm>
          <a:off x="0" y="0"/>
          <a:ext cx="0" cy="0"/>
          <a:chOff x="0" y="0"/>
          <a:chExt cx="0" cy="0"/>
        </a:xfrm>
      </p:grpSpPr>
      <p:pic>
        <p:nvPicPr>
          <p:cNvPr id="16" name="Background">
            <a:extLst>
              <a:ext uri="{FF2B5EF4-FFF2-40B4-BE49-F238E27FC236}">
                <a16:creationId xmlns:a16="http://schemas.microsoft.com/office/drawing/2014/main" id="{BCFEF986-9186-F0C0-29CC-344333767E31}"/>
              </a:ext>
            </a:extLst>
          </p:cNvPr>
          <p:cNvPicPr>
            <a:picLocks noChangeAspect="1"/>
          </p:cNvPicPr>
          <p:nvPr userDrawn="1">
            <p:custDataLst>
              <p:tags r:id="rId1"/>
            </p:custDataLst>
          </p:nvPr>
        </p:nvPicPr>
        <p:blipFill>
          <a:blip r:embed="rId11"/>
          <a:stretch>
            <a:fillRect/>
          </a:stretch>
        </p:blipFill>
        <p:spPr>
          <a:xfrm>
            <a:off x="0" y="0"/>
            <a:ext cx="12192000" cy="6858000"/>
          </a:xfrm>
          <a:prstGeom prst="rect">
            <a:avLst/>
          </a:prstGeom>
        </p:spPr>
      </p:pic>
      <p:pic>
        <p:nvPicPr>
          <p:cNvPr id="4" name="Partnership" hidden="1">
            <a:extLst>
              <a:ext uri="{FF2B5EF4-FFF2-40B4-BE49-F238E27FC236}">
                <a16:creationId xmlns:a16="http://schemas.microsoft.com/office/drawing/2014/main" id="{FB5CAFB0-12DB-3ECB-96AD-62B18CAF3BA0}"/>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0" y="0"/>
            <a:ext cx="12192000" cy="6858000"/>
          </a:xfrm>
          <a:prstGeom prst="rect">
            <a:avLst/>
          </a:prstGeom>
        </p:spPr>
      </p:pic>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1103474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44" imgH="344" progId="TCLayout.ActiveDocument.1">
                  <p:embed/>
                </p:oleObj>
              </mc:Choice>
              <mc:Fallback>
                <p:oleObj name="think-cell Slide" r:id="rId14"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grpSp>
        <p:nvGrpSpPr>
          <p:cNvPr id="17" name="logoimage" hidden="1">
            <a:extLst>
              <a:ext uri="{FF2B5EF4-FFF2-40B4-BE49-F238E27FC236}">
                <a16:creationId xmlns:a16="http://schemas.microsoft.com/office/drawing/2014/main" id="{949772D7-BAE9-BB95-C2D5-92588AD0D7EC}"/>
              </a:ext>
            </a:extLst>
          </p:cNvPr>
          <p:cNvGrpSpPr/>
          <p:nvPr userDrawn="1">
            <p:custDataLst>
              <p:tags r:id="rId4"/>
            </p:custDataLst>
          </p:nvPr>
        </p:nvGrpSpPr>
        <p:grpSpPr>
          <a:xfrm>
            <a:off x="551942" y="481160"/>
            <a:ext cx="1893201" cy="585216"/>
            <a:chOff x="551942" y="481160"/>
            <a:chExt cx="1893201" cy="585216"/>
          </a:xfrm>
        </p:grpSpPr>
        <p:sp>
          <p:nvSpPr>
            <p:cNvPr id="5" name="AutoShape 3" hidden="1">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551942" y="481160"/>
              <a:ext cx="1893201" cy="585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6" name="Freeform 5" hidden="1">
              <a:extLst>
                <a:ext uri="{FF2B5EF4-FFF2-40B4-BE49-F238E27FC236}">
                  <a16:creationId xmlns:a16="http://schemas.microsoft.com/office/drawing/2014/main" id="{20C9A1A2-5968-4C0E-9E0B-C061BA0E7F39}"/>
                </a:ext>
              </a:extLst>
            </p:cNvPr>
            <p:cNvSpPr>
              <a:spLocks noEditPoints="1"/>
            </p:cNvSpPr>
            <p:nvPr userDrawn="1"/>
          </p:nvSpPr>
          <p:spPr bwMode="black">
            <a:xfrm>
              <a:off x="551942" y="481407"/>
              <a:ext cx="1893201" cy="584969"/>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userDrawn="1">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2"/>
                </a:solidFill>
              </a:defRPr>
            </a:lvl1pPr>
          </a:lstStyle>
          <a:p>
            <a:r>
              <a:rPr lang="en-US"/>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userDrawn="1">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2"/>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userDrawn="1">
            <p:ph type="subTitle" idx="1"/>
            <p:custDataLst>
              <p:tags r:id="rId7"/>
            </p:custDataLst>
          </p:nvPr>
        </p:nvSpPr>
        <p:spPr>
          <a:xfrm>
            <a:off x="551942" y="4092559"/>
            <a:ext cx="6016752" cy="307777"/>
          </a:xfrm>
          <a:prstGeom prst="rect">
            <a:avLst/>
          </a:prstGeom>
        </p:spPr>
        <p:txBody>
          <a:bodyPr wrap="square">
            <a:sp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userDrawn="1">
            <p:ph type="title"/>
            <p:custDataLst>
              <p:tags r:id="rId8"/>
            </p:custDataLst>
          </p:nvPr>
        </p:nvSpPr>
        <p:spPr>
          <a:xfrm>
            <a:off x="551942" y="2049805"/>
            <a:ext cx="6016752" cy="1921708"/>
          </a:xfrm>
          <a:prstGeom prst="rect">
            <a:avLst/>
          </a:prstGeom>
        </p:spPr>
        <p:txBody>
          <a:bodyPr vert="horz" anchor="b">
            <a:normAutofit/>
          </a:bodyPr>
          <a:lstStyle>
            <a:lvl1pPr>
              <a:defRPr sz="4400" baseline="0">
                <a:ln w="6350" cap="flat">
                  <a:noFill/>
                  <a:miter lim="800000"/>
                </a:ln>
                <a:solidFill>
                  <a:schemeClr val="tx2"/>
                </a:solidFill>
              </a:defRPr>
            </a:lvl1pPr>
          </a:lstStyle>
          <a:p>
            <a:r>
              <a:rPr lang="en-US"/>
              <a:t>Click to edit Master title style</a:t>
            </a:r>
          </a:p>
        </p:txBody>
      </p:sp>
      <p:sp>
        <p:nvSpPr>
          <p:cNvPr id="2" name="Disclaimer-English (United States)">
            <a:extLst>
              <a:ext uri="{FF2B5EF4-FFF2-40B4-BE49-F238E27FC236}">
                <a16:creationId xmlns:a16="http://schemas.microsoft.com/office/drawing/2014/main" id="{E1AFA472-A065-C4A8-45DA-6825E3FFBAE8}"/>
              </a:ext>
            </a:extLst>
          </p:cNvPr>
          <p:cNvSpPr>
            <a:spLocks noChangeArrowheads="1"/>
          </p:cNvSpPr>
          <p:nvPr userDrawn="1">
            <p:custDataLst>
              <p:tags r:id="rId9"/>
            </p:custDataLst>
          </p:nvPr>
        </p:nvSpPr>
        <p:spPr bwMode="black">
          <a:xfrm>
            <a:off x="551941" y="6190488"/>
            <a:ext cx="10885315"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r>
              <a:rPr lang="en-US" sz="800">
                <a:solidFill>
                  <a:schemeClr val="bg1"/>
                </a:solidFill>
                <a:effectLst/>
                <a:latin typeface="Aptos" panose="020B0004020202020204" pitchFamily="34" charset="0"/>
                <a:ea typeface="Times New Roman" panose="02020603050405020304" pitchFamily="18" charset="0"/>
                <a:cs typeface="Aptos" panose="020B0004020202020204" pitchFamily="34" charset="0"/>
              </a:rPr>
              <a:t>CONFIDENTIAL AND PROPRIETARY | © 2025 McKinsey &amp; Company. This document is the property of McKinsey &amp; Company, Inc., Washington D.C. (“McKinsey”) and must not be disclosed outside the Government or be duplicated, used, or disclosed—in whole or in part—for any purpose. The Government shall have the right to duplicate, use, or disclose the data to the extent provided in the resulting contract and subject to the limitations of the Texas Public Information Act, Tex. Gov’t Code §§ 552.1101; 552.104(a); 552.110 et seq. (“Act”) and other applicable law. This document contains confidential and proprietary information; confidential trade secret, commercial or financial information; information that, if released, would give advantage to a competitor; and personal private information that is exempt from disclosure under the Act and other applicable law. Accordingly, no portion of this document should be released without prior consultation with McKinsey.</a:t>
            </a:r>
            <a:endParaRPr lang="en-US" sz="800">
              <a:solidFill>
                <a:schemeClr val="bg1"/>
              </a:solidFill>
            </a:endParaRPr>
          </a:p>
        </p:txBody>
      </p:sp>
    </p:spTree>
    <p:extLst>
      <p:ext uri="{BB962C8B-B14F-4D97-AF65-F5344CB8AC3E}">
        <p14:creationId xmlns:p14="http://schemas.microsoft.com/office/powerpoint/2010/main" val="236398365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46221"/>
          </a:xfrm>
        </p:spPr>
        <p:txBody>
          <a:bodyPr anchor="t" anchorCtr="0">
            <a:spAutoFit/>
          </a:bodyPr>
          <a:lstStyle/>
          <a:p>
            <a:r>
              <a:rPr lang="en-US" sz="1600"/>
              <a:t>Click to edit Master subtitle style</a:t>
            </a:r>
          </a:p>
        </p:txBody>
      </p:sp>
    </p:spTree>
    <p:extLst>
      <p:ext uri="{BB962C8B-B14F-4D97-AF65-F5344CB8AC3E}">
        <p14:creationId xmlns:p14="http://schemas.microsoft.com/office/powerpoint/2010/main" val="33559233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002509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12" name="Straight Connector 11">
            <a:extLst>
              <a:ext uri="{FF2B5EF4-FFF2-40B4-BE49-F238E27FC236}">
                <a16:creationId xmlns:a16="http://schemas.microsoft.com/office/drawing/2014/main" id="{6CBEEEC7-2A79-FE89-E8BE-7CB1159DED9D}"/>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6B3E2693-730F-29E2-7B7B-E8EE2241882C}"/>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14" name="TextBox 13">
            <a:extLst>
              <a:ext uri="{FF2B5EF4-FFF2-40B4-BE49-F238E27FC236}">
                <a16:creationId xmlns:a16="http://schemas.microsoft.com/office/drawing/2014/main" id="{8F4F0012-5AC7-2B73-12B0-EEC17114DCCE}"/>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15" name="Straight Connector 14">
            <a:extLst>
              <a:ext uri="{FF2B5EF4-FFF2-40B4-BE49-F238E27FC236}">
                <a16:creationId xmlns:a16="http://schemas.microsoft.com/office/drawing/2014/main" id="{FDA3B581-7381-0B8B-DEC1-A26FF86B4EA0}"/>
              </a:ext>
            </a:extLst>
          </p:cNvPr>
          <p:cNvCxnSpPr>
            <a:cxnSpLocks/>
          </p:cNvCxnSpPr>
          <p:nvPr userDrawn="1"/>
        </p:nvCxnSpPr>
        <p:spPr>
          <a:xfrm>
            <a:off x="2125589" y="6477006"/>
            <a:ext cx="943747"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94160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891927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D64C030F-530E-8905-54A9-0AED30BE7B2F}"/>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99BCBBE3-8503-EFC4-5B12-8BC8C75EA1B3}"/>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7" name="TextBox 6">
            <a:extLst>
              <a:ext uri="{FF2B5EF4-FFF2-40B4-BE49-F238E27FC236}">
                <a16:creationId xmlns:a16="http://schemas.microsoft.com/office/drawing/2014/main" id="{F060D72B-4D20-11D9-F3C4-2A6ABFBD21BF}"/>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8" name="Straight Connector 7">
            <a:extLst>
              <a:ext uri="{FF2B5EF4-FFF2-40B4-BE49-F238E27FC236}">
                <a16:creationId xmlns:a16="http://schemas.microsoft.com/office/drawing/2014/main" id="{CDDC6153-7DC2-2FDF-70EF-C01A47A108E6}"/>
              </a:ext>
            </a:extLst>
          </p:cNvPr>
          <p:cNvCxnSpPr>
            <a:cxnSpLocks/>
          </p:cNvCxnSpPr>
          <p:nvPr userDrawn="1"/>
        </p:nvCxnSpPr>
        <p:spPr>
          <a:xfrm>
            <a:off x="2125589" y="6477006"/>
            <a:ext cx="189472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50988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8346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446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4A76F6AB-E44E-4C53-138B-F673A875C3C5}"/>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C559D939-7F53-FB62-12D8-A9EC324C27FE}"/>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B40837CC-2FC6-E55D-9DC2-8CF8A7D05346}"/>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8" name="Straight Connector 7">
            <a:extLst>
              <a:ext uri="{FF2B5EF4-FFF2-40B4-BE49-F238E27FC236}">
                <a16:creationId xmlns:a16="http://schemas.microsoft.com/office/drawing/2014/main" id="{B10DD642-BED9-90A5-881A-D8F28433EE91}"/>
              </a:ext>
            </a:extLst>
          </p:cNvPr>
          <p:cNvCxnSpPr>
            <a:cxnSpLocks/>
          </p:cNvCxnSpPr>
          <p:nvPr userDrawn="1"/>
        </p:nvCxnSpPr>
        <p:spPr>
          <a:xfrm>
            <a:off x="2125589" y="6477006"/>
            <a:ext cx="3494923"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E9773F8B-7397-F003-8FB2-461216D2DF50}"/>
              </a:ext>
            </a:extLst>
          </p:cNvPr>
          <p:cNvGrpSpPr/>
          <p:nvPr userDrawn="1"/>
        </p:nvGrpSpPr>
        <p:grpSpPr>
          <a:xfrm>
            <a:off x="406400" y="172212"/>
            <a:ext cx="1320800" cy="518318"/>
            <a:chOff x="406400" y="243682"/>
            <a:chExt cx="1320800" cy="518318"/>
          </a:xfrm>
        </p:grpSpPr>
        <p:sp>
          <p:nvSpPr>
            <p:cNvPr id="13" name="Rectangle 12">
              <a:extLst>
                <a:ext uri="{FF2B5EF4-FFF2-40B4-BE49-F238E27FC236}">
                  <a16:creationId xmlns:a16="http://schemas.microsoft.com/office/drawing/2014/main" id="{DE1B10A6-93F5-6A71-2C6F-0EF50CB31F10}"/>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4" name="Straight Connector 13">
              <a:extLst>
                <a:ext uri="{FF2B5EF4-FFF2-40B4-BE49-F238E27FC236}">
                  <a16:creationId xmlns:a16="http://schemas.microsoft.com/office/drawing/2014/main" id="{E94B9A99-20C1-9528-C03B-35D169248A8C}"/>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4096167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4.xml"/><Relationship Id="rId26" Type="http://schemas.openxmlformats.org/officeDocument/2006/relationships/tags" Target="../tags/tag12.xml"/><Relationship Id="rId39" Type="http://schemas.openxmlformats.org/officeDocument/2006/relationships/image" Target="../media/image2.png"/><Relationship Id="rId21" Type="http://schemas.openxmlformats.org/officeDocument/2006/relationships/tags" Target="../tags/tag7.xml"/><Relationship Id="rId34" Type="http://schemas.openxmlformats.org/officeDocument/2006/relationships/tags" Target="../tags/tag20.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5" Type="http://schemas.openxmlformats.org/officeDocument/2006/relationships/tags" Target="../tags/tag11.xml"/><Relationship Id="rId33" Type="http://schemas.openxmlformats.org/officeDocument/2006/relationships/tags" Target="../tags/tag19.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29" Type="http://schemas.openxmlformats.org/officeDocument/2006/relationships/tags" Target="../tags/tag1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0.xml"/><Relationship Id="rId32" Type="http://schemas.openxmlformats.org/officeDocument/2006/relationships/tags" Target="../tags/tag18.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9.xml"/><Relationship Id="rId28" Type="http://schemas.openxmlformats.org/officeDocument/2006/relationships/tags" Target="../tags/tag14.xml"/><Relationship Id="rId36" Type="http://schemas.openxmlformats.org/officeDocument/2006/relationships/tags" Target="../tags/tag22.xml"/><Relationship Id="rId10" Type="http://schemas.openxmlformats.org/officeDocument/2006/relationships/slideLayout" Target="../slideLayouts/slideLayout10.xml"/><Relationship Id="rId19" Type="http://schemas.openxmlformats.org/officeDocument/2006/relationships/tags" Target="../tags/tag5.xml"/><Relationship Id="rId31" Type="http://schemas.openxmlformats.org/officeDocument/2006/relationships/tags" Target="../tags/tag1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8.xml"/><Relationship Id="rId27" Type="http://schemas.openxmlformats.org/officeDocument/2006/relationships/tags" Target="../tags/tag13.xml"/><Relationship Id="rId30" Type="http://schemas.openxmlformats.org/officeDocument/2006/relationships/tags" Target="../tags/tag16.xml"/><Relationship Id="rId35" Type="http://schemas.openxmlformats.org/officeDocument/2006/relationships/tags" Target="../tags/tag2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theme" Target="../theme/theme2.xml"/><Relationship Id="rId26" Type="http://schemas.openxmlformats.org/officeDocument/2006/relationships/image" Target="../media/image3.emf"/><Relationship Id="rId3" Type="http://schemas.openxmlformats.org/officeDocument/2006/relationships/slideLayout" Target="../slideLayouts/slideLayout17.xml"/><Relationship Id="rId21" Type="http://schemas.openxmlformats.org/officeDocument/2006/relationships/tags" Target="../tags/tag114.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oleObject" Target="../embeddings/oleObject16.bin"/><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ags" Target="../tags/tag11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17.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16.xml"/><Relationship Id="rId28" Type="http://schemas.microsoft.com/office/2007/relationships/hdphoto" Target="../media/hdphoto1.wdp"/><Relationship Id="rId10" Type="http://schemas.openxmlformats.org/officeDocument/2006/relationships/slideLayout" Target="../slideLayouts/slideLayout24.xml"/><Relationship Id="rId19" Type="http://schemas.openxmlformats.org/officeDocument/2006/relationships/tags" Target="../tags/tag112.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15.xml"/><Relationship Id="rId27" Type="http://schemas.openxmlformats.org/officeDocument/2006/relationships/image" Target="../media/image7.png"/></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230.xml"/><Relationship Id="rId2" Type="http://schemas.openxmlformats.org/officeDocument/2006/relationships/theme" Target="../theme/theme3.xml"/><Relationship Id="rId1" Type="http://schemas.openxmlformats.org/officeDocument/2006/relationships/slideLayout" Target="../slideLayouts/slideLayout32.xml"/><Relationship Id="rId6" Type="http://schemas.openxmlformats.org/officeDocument/2006/relationships/image" Target="../media/image4.png"/><Relationship Id="rId5" Type="http://schemas.openxmlformats.org/officeDocument/2006/relationships/image" Target="../media/image10.emf"/><Relationship Id="rId4" Type="http://schemas.openxmlformats.org/officeDocument/2006/relationships/oleObject" Target="../embeddings/oleObject34.bin"/></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tags" Target="../tags/tag235.xml"/><Relationship Id="rId39" Type="http://schemas.openxmlformats.org/officeDocument/2006/relationships/tags" Target="../tags/tag248.xml"/><Relationship Id="rId21" Type="http://schemas.openxmlformats.org/officeDocument/2006/relationships/theme" Target="../theme/theme4.xml"/><Relationship Id="rId34" Type="http://schemas.openxmlformats.org/officeDocument/2006/relationships/tags" Target="../tags/tag243.xml"/><Relationship Id="rId42" Type="http://schemas.openxmlformats.org/officeDocument/2006/relationships/image" Target="../media/image2.png"/><Relationship Id="rId7" Type="http://schemas.openxmlformats.org/officeDocument/2006/relationships/slideLayout" Target="../slideLayouts/slideLayout3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9" Type="http://schemas.openxmlformats.org/officeDocument/2006/relationships/tags" Target="../tags/tag238.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tags" Target="../tags/tag233.xml"/><Relationship Id="rId32" Type="http://schemas.openxmlformats.org/officeDocument/2006/relationships/tags" Target="../tags/tag241.xml"/><Relationship Id="rId37" Type="http://schemas.openxmlformats.org/officeDocument/2006/relationships/tags" Target="../tags/tag246.xml"/><Relationship Id="rId40" Type="http://schemas.openxmlformats.org/officeDocument/2006/relationships/tags" Target="../tags/tag249.xml"/><Relationship Id="rId45" Type="http://schemas.openxmlformats.org/officeDocument/2006/relationships/image" Target="../media/image11.png"/><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tags" Target="../tags/tag232.xml"/><Relationship Id="rId28" Type="http://schemas.openxmlformats.org/officeDocument/2006/relationships/tags" Target="../tags/tag237.xml"/><Relationship Id="rId36" Type="http://schemas.openxmlformats.org/officeDocument/2006/relationships/tags" Target="../tags/tag245.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tags" Target="../tags/tag240.xml"/><Relationship Id="rId44" Type="http://schemas.openxmlformats.org/officeDocument/2006/relationships/image" Target="../media/image1.emf"/><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tags" Target="../tags/tag231.xml"/><Relationship Id="rId27" Type="http://schemas.openxmlformats.org/officeDocument/2006/relationships/tags" Target="../tags/tag236.xml"/><Relationship Id="rId30" Type="http://schemas.openxmlformats.org/officeDocument/2006/relationships/tags" Target="../tags/tag239.xml"/><Relationship Id="rId35" Type="http://schemas.openxmlformats.org/officeDocument/2006/relationships/tags" Target="../tags/tag244.xml"/><Relationship Id="rId43" Type="http://schemas.openxmlformats.org/officeDocument/2006/relationships/oleObject" Target="../embeddings/oleObject35.bin"/><Relationship Id="rId8" Type="http://schemas.openxmlformats.org/officeDocument/2006/relationships/slideLayout" Target="../slideLayouts/slideLayout40.xml"/><Relationship Id="rId3" Type="http://schemas.openxmlformats.org/officeDocument/2006/relationships/slideLayout" Target="../slideLayouts/slideLayout35.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tags" Target="../tags/tag234.xml"/><Relationship Id="rId33" Type="http://schemas.openxmlformats.org/officeDocument/2006/relationships/tags" Target="../tags/tag242.xml"/><Relationship Id="rId38" Type="http://schemas.openxmlformats.org/officeDocument/2006/relationships/tags" Target="../tags/tag247.xml"/><Relationship Id="rId46" Type="http://schemas.openxmlformats.org/officeDocument/2006/relationships/image" Target="../media/image12.svg"/><Relationship Id="rId20" Type="http://schemas.openxmlformats.org/officeDocument/2006/relationships/slideLayout" Target="../slideLayouts/slideLayout52.xml"/><Relationship Id="rId41" Type="http://schemas.openxmlformats.org/officeDocument/2006/relationships/tags" Target="../tags/tag25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6"/>
            </p:custDataLst>
            <p:extLst>
              <p:ext uri="{D42A27DB-BD31-4B8C-83A1-F6EECF244321}">
                <p14:modId xmlns:p14="http://schemas.microsoft.com/office/powerpoint/2010/main" val="3038822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13" imgH="416" progId="TCLayout.ActiveDocument.1">
                  <p:embed/>
                </p:oleObj>
              </mc:Choice>
              <mc:Fallback>
                <p:oleObj name="think-cell Slide" r:id="rId37"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grpSp>
        <p:nvGrpSpPr>
          <p:cNvPr id="59" name="Grid" hidden="1">
            <a:extLst>
              <a:ext uri="{FF2B5EF4-FFF2-40B4-BE49-F238E27FC236}">
                <a16:creationId xmlns:a16="http://schemas.microsoft.com/office/drawing/2014/main" id="{D35250B8-D61E-4F1A-9ACD-6E1BB958B78E}"/>
              </a:ext>
            </a:extLst>
          </p:cNvPr>
          <p:cNvGrpSpPr/>
          <p:nvPr userDrawn="1">
            <p:custDataLst>
              <p:tags r:id="rId17"/>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352540"/>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6" name="Rectangle 5">
            <a:extLst>
              <a:ext uri="{FF2B5EF4-FFF2-40B4-BE49-F238E27FC236}">
                <a16:creationId xmlns:a16="http://schemas.microsoft.com/office/drawing/2014/main" id="{B129ABFC-B9D1-F8E5-1E28-5CFD62D6E898}"/>
              </a:ext>
            </a:extLst>
          </p:cNvPr>
          <p:cNvSpPr/>
          <p:nvPr userDrawn="1"/>
        </p:nvSpPr>
        <p:spPr>
          <a:xfrm>
            <a:off x="11379203" y="6477005"/>
            <a:ext cx="711199" cy="381001"/>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47" name="Rectangle 46">
            <a:extLst>
              <a:ext uri="{FF2B5EF4-FFF2-40B4-BE49-F238E27FC236}">
                <a16:creationId xmlns:a16="http://schemas.microsoft.com/office/drawing/2014/main" id="{189F4D41-3A8E-44C7-CB4D-80DE0DE6A204}"/>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48" name="Straight Connector 47">
            <a:extLst>
              <a:ext uri="{FF2B5EF4-FFF2-40B4-BE49-F238E27FC236}">
                <a16:creationId xmlns:a16="http://schemas.microsoft.com/office/drawing/2014/main" id="{E97F4934-B936-2A19-6F91-4B2BB31D0E7F}"/>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49" name="Picture 48">
            <a:extLst>
              <a:ext uri="{FF2B5EF4-FFF2-40B4-BE49-F238E27FC236}">
                <a16:creationId xmlns:a16="http://schemas.microsoft.com/office/drawing/2014/main" id="{4BAA345D-6585-BD21-0323-4D86073911B8}"/>
              </a:ext>
            </a:extLst>
          </p:cNvPr>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50" name="TextBox 49">
            <a:extLst>
              <a:ext uri="{FF2B5EF4-FFF2-40B4-BE49-F238E27FC236}">
                <a16:creationId xmlns:a16="http://schemas.microsoft.com/office/drawing/2014/main" id="{2FEDA073-6846-073E-629D-656B6FC8F1EC}"/>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51" name="Straight Connector 50">
            <a:extLst>
              <a:ext uri="{FF2B5EF4-FFF2-40B4-BE49-F238E27FC236}">
                <a16:creationId xmlns:a16="http://schemas.microsoft.com/office/drawing/2014/main" id="{04ACE543-6BB7-6A8A-B65B-DEA57F5B656A}"/>
              </a:ext>
            </a:extLst>
          </p:cNvPr>
          <p:cNvCxnSpPr>
            <a:cxnSpLocks/>
          </p:cNvCxnSpPr>
          <p:nvPr userDrawn="1"/>
        </p:nvCxnSpPr>
        <p:spPr>
          <a:xfrm>
            <a:off x="2125589" y="6477006"/>
            <a:ext cx="1006641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15B28737-798E-48D4-BBDB-8EB35CB9FFFB}"/>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9"/>
            </p:custDataLst>
          </p:nvPr>
        </p:nvSpPr>
        <p:spPr>
          <a:xfrm>
            <a:off x="553972" y="6076229"/>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0"/>
            </p:custDataLst>
          </p:nvPr>
        </p:nvSpPr>
        <p:spPr>
          <a:xfrm>
            <a:off x="554736" y="172212"/>
            <a:ext cx="11082528"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1"/>
            </p:custDataLst>
          </p:nvPr>
        </p:nvSpPr>
        <p:spPr>
          <a:xfrm>
            <a:off x="5987738" y="2170800"/>
            <a:ext cx="3049253" cy="53860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LegendLines" hidden="1">
            <a:extLst>
              <a:ext uri="{FF2B5EF4-FFF2-40B4-BE49-F238E27FC236}">
                <a16:creationId xmlns:a16="http://schemas.microsoft.com/office/drawing/2014/main" id="{88A86FE2-86A3-9303-E7C2-AF9380F2280B}"/>
              </a:ext>
            </a:extLst>
          </p:cNvPr>
          <p:cNvGrpSpPr/>
          <p:nvPr userDrawn="1"/>
        </p:nvGrpSpPr>
        <p:grpSpPr>
          <a:xfrm>
            <a:off x="10317304" y="3150223"/>
            <a:ext cx="1319960" cy="958286"/>
            <a:chOff x="10162879" y="3243772"/>
            <a:chExt cx="1319960" cy="958286"/>
          </a:xfrm>
        </p:grpSpPr>
        <p:sp>
          <p:nvSpPr>
            <p:cNvPr id="8" name="Legend1" hidden="1">
              <a:extLst>
                <a:ext uri="{FF2B5EF4-FFF2-40B4-BE49-F238E27FC236}">
                  <a16:creationId xmlns:a16="http://schemas.microsoft.com/office/drawing/2014/main" id="{FE29A28C-5474-C59E-053E-6DAC0850E503}"/>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9" name="Legend2" hidden="1">
              <a:extLst>
                <a:ext uri="{FF2B5EF4-FFF2-40B4-BE49-F238E27FC236}">
                  <a16:creationId xmlns:a16="http://schemas.microsoft.com/office/drawing/2014/main" id="{34A01A17-1BFD-550E-EB2E-462FC085E6FA}"/>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0" name="Legend3" hidden="1">
              <a:extLst>
                <a:ext uri="{FF2B5EF4-FFF2-40B4-BE49-F238E27FC236}">
                  <a16:creationId xmlns:a16="http://schemas.microsoft.com/office/drawing/2014/main" id="{411A1560-CA36-581D-675B-FCC6DE1BD5CD}"/>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1" name="LineLegend3" hidden="1">
              <a:extLst>
                <a:ext uri="{FF2B5EF4-FFF2-40B4-BE49-F238E27FC236}">
                  <a16:creationId xmlns:a16="http://schemas.microsoft.com/office/drawing/2014/main" id="{6A7E84C5-EA08-4537-61F7-28E04EAAE80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2" name="LineLegend2" hidden="1">
              <a:extLst>
                <a:ext uri="{FF2B5EF4-FFF2-40B4-BE49-F238E27FC236}">
                  <a16:creationId xmlns:a16="http://schemas.microsoft.com/office/drawing/2014/main" id="{3F1C3AED-A304-869E-7F45-15E0A66D4106}"/>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3" name="LineLegend1" hidden="1">
              <a:extLst>
                <a:ext uri="{FF2B5EF4-FFF2-40B4-BE49-F238E27FC236}">
                  <a16:creationId xmlns:a16="http://schemas.microsoft.com/office/drawing/2014/main" id="{8B3B3C56-0A58-E1C7-897C-F8807D2E5A1A}"/>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grpSp>
      <p:grpSp>
        <p:nvGrpSpPr>
          <p:cNvPr id="14" name="LegendMoons" hidden="1">
            <a:extLst>
              <a:ext uri="{FF2B5EF4-FFF2-40B4-BE49-F238E27FC236}">
                <a16:creationId xmlns:a16="http://schemas.microsoft.com/office/drawing/2014/main" id="{DCF6D4D9-4960-DD09-85E9-F8414ACAE23C}"/>
              </a:ext>
            </a:extLst>
          </p:cNvPr>
          <p:cNvGrpSpPr/>
          <p:nvPr userDrawn="1"/>
        </p:nvGrpSpPr>
        <p:grpSpPr>
          <a:xfrm>
            <a:off x="10688315" y="1145373"/>
            <a:ext cx="948949" cy="1731859"/>
            <a:chOff x="7723680" y="1702457"/>
            <a:chExt cx="948949" cy="1731859"/>
          </a:xfrm>
        </p:grpSpPr>
        <p:sp>
          <p:nvSpPr>
            <p:cNvPr id="15" name="Legend1" hidden="1">
              <a:extLst>
                <a:ext uri="{FF2B5EF4-FFF2-40B4-BE49-F238E27FC236}">
                  <a16:creationId xmlns:a16="http://schemas.microsoft.com/office/drawing/2014/main" id="{EEDB85C7-9239-C4EC-894C-7C0816C48F19}"/>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 name="Legend2" hidden="1">
              <a:extLst>
                <a:ext uri="{FF2B5EF4-FFF2-40B4-BE49-F238E27FC236}">
                  <a16:creationId xmlns:a16="http://schemas.microsoft.com/office/drawing/2014/main" id="{5951E86D-2036-685D-71A7-831017E19E27}"/>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 name="Legend3" hidden="1">
              <a:extLst>
                <a:ext uri="{FF2B5EF4-FFF2-40B4-BE49-F238E27FC236}">
                  <a16:creationId xmlns:a16="http://schemas.microsoft.com/office/drawing/2014/main" id="{A0D7712D-9124-9CE3-D60D-EB11806A9A94}"/>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 name="Legend4" hidden="1">
              <a:extLst>
                <a:ext uri="{FF2B5EF4-FFF2-40B4-BE49-F238E27FC236}">
                  <a16:creationId xmlns:a16="http://schemas.microsoft.com/office/drawing/2014/main" id="{F2446A46-E50A-7F61-E302-8D8FC59FD7A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 name="Legend5" hidden="1">
              <a:extLst>
                <a:ext uri="{FF2B5EF4-FFF2-40B4-BE49-F238E27FC236}">
                  <a16:creationId xmlns:a16="http://schemas.microsoft.com/office/drawing/2014/main" id="{25E0120E-DD60-518A-3A21-FD3FBA42BF92}"/>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1" name="MoonLegend1" hidden="1">
              <a:extLst>
                <a:ext uri="{FF2B5EF4-FFF2-40B4-BE49-F238E27FC236}">
                  <a16:creationId xmlns:a16="http://schemas.microsoft.com/office/drawing/2014/main" id="{43F36A78-B838-10E6-8192-DCC36FEFF2BD}"/>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34" name="Oval 33" hidden="1">
                <a:extLst>
                  <a:ext uri="{FF2B5EF4-FFF2-40B4-BE49-F238E27FC236}">
                    <a16:creationId xmlns:a16="http://schemas.microsoft.com/office/drawing/2014/main" id="{08DCEDDC-8F12-899F-3946-BBF9EA614F57}"/>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5" name="Arc 34" hidden="1">
                <a:extLst>
                  <a:ext uri="{FF2B5EF4-FFF2-40B4-BE49-F238E27FC236}">
                    <a16:creationId xmlns:a16="http://schemas.microsoft.com/office/drawing/2014/main" id="{083A606F-B864-2221-3276-3427945F490B}"/>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2" name="MoonLegend2" hidden="1">
              <a:extLst>
                <a:ext uri="{FF2B5EF4-FFF2-40B4-BE49-F238E27FC236}">
                  <a16:creationId xmlns:a16="http://schemas.microsoft.com/office/drawing/2014/main" id="{7B95D596-1A0B-DDF4-FB19-986AEAC0CB45}"/>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32" name="Oval 31" hidden="1">
                <a:extLst>
                  <a:ext uri="{FF2B5EF4-FFF2-40B4-BE49-F238E27FC236}">
                    <a16:creationId xmlns:a16="http://schemas.microsoft.com/office/drawing/2014/main" id="{C5688437-3E14-346D-F54F-F6100BB41FA3}"/>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3" name="Arc 32" hidden="1">
                <a:extLst>
                  <a:ext uri="{FF2B5EF4-FFF2-40B4-BE49-F238E27FC236}">
                    <a16:creationId xmlns:a16="http://schemas.microsoft.com/office/drawing/2014/main" id="{94FB8DFB-0A9C-6494-4643-A307312D7DFE}"/>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3" name="MoonLegend3" hidden="1">
              <a:extLst>
                <a:ext uri="{FF2B5EF4-FFF2-40B4-BE49-F238E27FC236}">
                  <a16:creationId xmlns:a16="http://schemas.microsoft.com/office/drawing/2014/main" id="{42191A02-89D7-EEFF-CEE1-EB17CC3CA200}"/>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30" name="Oval 29" hidden="1">
                <a:extLst>
                  <a:ext uri="{FF2B5EF4-FFF2-40B4-BE49-F238E27FC236}">
                    <a16:creationId xmlns:a16="http://schemas.microsoft.com/office/drawing/2014/main" id="{72C42F94-76B0-7F2A-A581-AB474D716A08}"/>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1" name="Arc 30" hidden="1">
                <a:extLst>
                  <a:ext uri="{FF2B5EF4-FFF2-40B4-BE49-F238E27FC236}">
                    <a16:creationId xmlns:a16="http://schemas.microsoft.com/office/drawing/2014/main" id="{EC083367-9E23-73A1-53BE-DCD38693E7E9}"/>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4" name="MoonLegend4" hidden="1">
              <a:extLst>
                <a:ext uri="{FF2B5EF4-FFF2-40B4-BE49-F238E27FC236}">
                  <a16:creationId xmlns:a16="http://schemas.microsoft.com/office/drawing/2014/main" id="{AB8FE1F4-36A1-43F6-A64D-E34FC349D720}"/>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28" name="Oval 27" hidden="1">
                <a:extLst>
                  <a:ext uri="{FF2B5EF4-FFF2-40B4-BE49-F238E27FC236}">
                    <a16:creationId xmlns:a16="http://schemas.microsoft.com/office/drawing/2014/main" id="{C9E5D4CD-2FE2-F0DB-BDAE-2FC2DE2C2FB5}"/>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9" name="Arc 28" hidden="1">
                <a:extLst>
                  <a:ext uri="{FF2B5EF4-FFF2-40B4-BE49-F238E27FC236}">
                    <a16:creationId xmlns:a16="http://schemas.microsoft.com/office/drawing/2014/main" id="{95846CF1-9D9A-7CCB-2CAF-F2F08D8F5344}"/>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5" name="MoonLegend5" hidden="1">
              <a:extLst>
                <a:ext uri="{FF2B5EF4-FFF2-40B4-BE49-F238E27FC236}">
                  <a16:creationId xmlns:a16="http://schemas.microsoft.com/office/drawing/2014/main" id="{DB7EA160-082C-1E77-95F7-E81D3C65BD25}"/>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26" name="Oval 25" hidden="1">
                <a:extLst>
                  <a:ext uri="{FF2B5EF4-FFF2-40B4-BE49-F238E27FC236}">
                    <a16:creationId xmlns:a16="http://schemas.microsoft.com/office/drawing/2014/main" id="{CD6B6430-2D08-174F-4A7D-EE4D69CC3334}"/>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7" name="Arc 26" hidden="1">
                <a:extLst>
                  <a:ext uri="{FF2B5EF4-FFF2-40B4-BE49-F238E27FC236}">
                    <a16:creationId xmlns:a16="http://schemas.microsoft.com/office/drawing/2014/main" id="{C7E3A130-F38F-0BEC-524D-8AEB60E5E767}"/>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36" name="LegendBoxes" hidden="1">
            <a:extLst>
              <a:ext uri="{FF2B5EF4-FFF2-40B4-BE49-F238E27FC236}">
                <a16:creationId xmlns:a16="http://schemas.microsoft.com/office/drawing/2014/main" id="{1C046442-2789-0E2E-60F1-814A815DA24F}"/>
              </a:ext>
            </a:extLst>
          </p:cNvPr>
          <p:cNvGrpSpPr/>
          <p:nvPr userDrawn="1"/>
        </p:nvGrpSpPr>
        <p:grpSpPr>
          <a:xfrm>
            <a:off x="10714801" y="4381500"/>
            <a:ext cx="922463" cy="1717282"/>
            <a:chOff x="10652400" y="4322824"/>
            <a:chExt cx="922463" cy="1717282"/>
          </a:xfrm>
        </p:grpSpPr>
        <p:sp>
          <p:nvSpPr>
            <p:cNvPr id="37" name="RectangleLegend1" hidden="1">
              <a:extLst>
                <a:ext uri="{FF2B5EF4-FFF2-40B4-BE49-F238E27FC236}">
                  <a16:creationId xmlns:a16="http://schemas.microsoft.com/office/drawing/2014/main" id="{3D3B845A-3917-D8F2-2572-BFE927D09365}"/>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38" name="RectangleLegend2" hidden="1">
              <a:extLst>
                <a:ext uri="{FF2B5EF4-FFF2-40B4-BE49-F238E27FC236}">
                  <a16:creationId xmlns:a16="http://schemas.microsoft.com/office/drawing/2014/main" id="{D1FCC5C0-DA74-4AF5-797D-64DEC4D61676}"/>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39" name="RectangleLegend3" hidden="1">
              <a:extLst>
                <a:ext uri="{FF2B5EF4-FFF2-40B4-BE49-F238E27FC236}">
                  <a16:creationId xmlns:a16="http://schemas.microsoft.com/office/drawing/2014/main" id="{74D5A905-3957-8E36-8E35-3C70974BCBA0}"/>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40" name="RectangleLegend4" hidden="1">
              <a:extLst>
                <a:ext uri="{FF2B5EF4-FFF2-40B4-BE49-F238E27FC236}">
                  <a16:creationId xmlns:a16="http://schemas.microsoft.com/office/drawing/2014/main" id="{1C8CFE46-2CAA-A463-23A3-893058C465E7}"/>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41" name="RectangleLegend5" hidden="1">
              <a:extLst>
                <a:ext uri="{FF2B5EF4-FFF2-40B4-BE49-F238E27FC236}">
                  <a16:creationId xmlns:a16="http://schemas.microsoft.com/office/drawing/2014/main" id="{04181080-24CC-D4FA-04D5-8A2FB7F3213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42" name="Legend1" hidden="1">
              <a:extLst>
                <a:ext uri="{FF2B5EF4-FFF2-40B4-BE49-F238E27FC236}">
                  <a16:creationId xmlns:a16="http://schemas.microsoft.com/office/drawing/2014/main" id="{C1243ADA-154E-D57C-3259-D662DF376CDE}"/>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43" name="Legend2" hidden="1">
              <a:extLst>
                <a:ext uri="{FF2B5EF4-FFF2-40B4-BE49-F238E27FC236}">
                  <a16:creationId xmlns:a16="http://schemas.microsoft.com/office/drawing/2014/main" id="{4C4B52E8-9615-BF25-4ED5-A8913C15EF41}"/>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44" name="Legend3" hidden="1">
              <a:extLst>
                <a:ext uri="{FF2B5EF4-FFF2-40B4-BE49-F238E27FC236}">
                  <a16:creationId xmlns:a16="http://schemas.microsoft.com/office/drawing/2014/main" id="{72271CAA-1B33-53AB-1F34-CBBEE146FDE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45" name="Legend4" hidden="1">
              <a:extLst>
                <a:ext uri="{FF2B5EF4-FFF2-40B4-BE49-F238E27FC236}">
                  <a16:creationId xmlns:a16="http://schemas.microsoft.com/office/drawing/2014/main" id="{0A00B1AC-1E55-331C-82C5-61A47A9CC3BB}"/>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46" name="Legend5" hidden="1">
              <a:extLst>
                <a:ext uri="{FF2B5EF4-FFF2-40B4-BE49-F238E27FC236}">
                  <a16:creationId xmlns:a16="http://schemas.microsoft.com/office/drawing/2014/main" id="{35709C0B-FFED-F61E-298C-27A2577A63AC}"/>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82" r:id="rId7"/>
    <p:sldLayoutId id="2147483883" r:id="rId8"/>
    <p:sldLayoutId id="2147483884" r:id="rId9"/>
    <p:sldLayoutId id="2147483885" r:id="rId10"/>
    <p:sldLayoutId id="2147483886" r:id="rId11"/>
    <p:sldLayoutId id="2147483887" r:id="rId12"/>
    <p:sldLayoutId id="2147483706" r:id="rId13"/>
    <p:sldLayoutId id="2147483718" r:id="rId14"/>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816" userDrawn="1">
          <p15:clr>
            <a:srgbClr val="5ACBF0"/>
          </p15:clr>
        </p15:guide>
        <p15:guide id="4" orient="horz" pos="1075">
          <p15:clr>
            <a:srgbClr val="F26B43"/>
          </p15:clr>
        </p15:guide>
        <p15:guide id="5" pos="7329">
          <p15:clr>
            <a:srgbClr val="F26B43"/>
          </p15:clr>
        </p15:guide>
        <p15:guide id="6" pos="345">
          <p15:clr>
            <a:srgbClr val="F26B43"/>
          </p15:clr>
        </p15:guide>
        <p15:guide id="8" orient="horz" pos="393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19"/>
            </p:custDataLst>
            <p:extLst>
              <p:ext uri="{D42A27DB-BD31-4B8C-83A1-F6EECF244321}">
                <p14:modId xmlns:p14="http://schemas.microsoft.com/office/powerpoint/2010/main" val="1352749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592" imgH="591" progId="TCLayout.ActiveDocument.1">
                  <p:embed/>
                </p:oleObj>
              </mc:Choice>
              <mc:Fallback>
                <p:oleObj name="think-cell Slide" r:id="rId25"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B9EB4682-4E2C-6071-8F07-1E3F9095F932}"/>
              </a:ext>
            </a:extLst>
          </p:cNvPr>
          <p:cNvSpPr/>
          <p:nvPr userDrawn="1"/>
        </p:nvSpPr>
        <p:spPr>
          <a:xfrm>
            <a:off x="11379203" y="6477005"/>
            <a:ext cx="711199" cy="3810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6" name="Rectangle 5">
            <a:extLst>
              <a:ext uri="{FF2B5EF4-FFF2-40B4-BE49-F238E27FC236}">
                <a16:creationId xmlns:a16="http://schemas.microsoft.com/office/drawing/2014/main" id="{9F5F2C7F-C584-34E6-E33E-B1FECBC921BB}"/>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7" name="Straight Connector 6">
            <a:extLst>
              <a:ext uri="{FF2B5EF4-FFF2-40B4-BE49-F238E27FC236}">
                <a16:creationId xmlns:a16="http://schemas.microsoft.com/office/drawing/2014/main" id="{FFC0D3CA-4516-DB58-68F9-9812BEFAC6BD}"/>
              </a:ext>
            </a:extLst>
          </p:cNvPr>
          <p:cNvCxnSpPr>
            <a:cxnSpLocks/>
          </p:cNvCxnSpPr>
          <p:nvPr userDrawn="1"/>
        </p:nvCxnSpPr>
        <p:spPr>
          <a:xfrm>
            <a:off x="101600" y="6477000"/>
            <a:ext cx="6604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6AA66108-94B5-376F-4803-7FB317BE0A6C}"/>
              </a:ext>
            </a:extLst>
          </p:cNvPr>
          <p:cNvPicPr>
            <a:picLocks noChangeAspect="1"/>
          </p:cNvPicPr>
          <p:nvPr userDrawn="1"/>
        </p:nvPicPr>
        <p:blipFill>
          <a:blip r:embed="rId27" cstate="print">
            <a:extLst>
              <a:ext uri="{BEBA8EAE-BF5A-486C-A8C5-ECC9F3942E4B}">
                <a14:imgProps xmlns:a14="http://schemas.microsoft.com/office/drawing/2010/main">
                  <a14:imgLayer r:embed="rId2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9" name="TextBox 8">
            <a:extLst>
              <a:ext uri="{FF2B5EF4-FFF2-40B4-BE49-F238E27FC236}">
                <a16:creationId xmlns:a16="http://schemas.microsoft.com/office/drawing/2014/main" id="{565E9B65-DC2E-7AF2-FB24-4039ED606AEF}"/>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10" name="Straight Connector 9">
            <a:extLst>
              <a:ext uri="{FF2B5EF4-FFF2-40B4-BE49-F238E27FC236}">
                <a16:creationId xmlns:a16="http://schemas.microsoft.com/office/drawing/2014/main" id="{168E5B4E-C7FC-29EF-839F-070E0BE30AC2}"/>
              </a:ext>
            </a:extLst>
          </p:cNvPr>
          <p:cNvCxnSpPr>
            <a:cxnSpLocks/>
          </p:cNvCxnSpPr>
          <p:nvPr userDrawn="1"/>
        </p:nvCxnSpPr>
        <p:spPr>
          <a:xfrm>
            <a:off x="2125589" y="6477006"/>
            <a:ext cx="1006641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FB3399E7-290D-4CE6-AA08-2DA0CF307E1C}"/>
              </a:ext>
            </a:extLst>
          </p:cNvPr>
          <p:cNvSpPr/>
          <p:nvPr userDrawn="1">
            <p:custDataLst>
              <p:tags r:id="rId20"/>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1"/>
            </p:custDataLst>
          </p:nvPr>
        </p:nvSpPr>
        <p:spPr>
          <a:xfrm>
            <a:off x="554736" y="172212"/>
            <a:ext cx="11082528" cy="731520"/>
          </a:xfrm>
          <a:prstGeom prst="rect">
            <a:avLst/>
          </a:prstGeom>
        </p:spPr>
        <p:txBody>
          <a:bodyPr vert="horz" wrap="square" lIns="0" tIns="0" rIns="0" bIns="0" rtlCol="0" anchor="t" anchorCtr="0">
            <a:noAutofit/>
          </a:bodyPr>
          <a:lstStyle/>
          <a:p>
            <a:pPr lvl="0"/>
            <a:r>
              <a:rPr lang="en-US"/>
              <a:t>Click to edit Master title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2"/>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3"/>
            </p:custDataLst>
          </p:nvPr>
        </p:nvSpPr>
        <p:spPr>
          <a:xfrm>
            <a:off x="553972" y="6076229"/>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34583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24"/>
            </p:custDataLst>
          </p:nvPr>
        </p:nvSpPr>
        <p:spPr>
          <a:xfrm>
            <a:off x="5987738" y="2170800"/>
            <a:ext cx="3049253" cy="53860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sz="1400" b="0"/>
              <a:t>Unit of Measure</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a:off x="554736" y="2170800"/>
            <a:ext cx="2484655" cy="13843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2" name="Group 11">
            <a:extLst>
              <a:ext uri="{FF2B5EF4-FFF2-40B4-BE49-F238E27FC236}">
                <a16:creationId xmlns:a16="http://schemas.microsoft.com/office/drawing/2014/main" id="{E44216B6-30B0-F4B4-B1A7-735752A67CAC}"/>
              </a:ext>
            </a:extLst>
          </p:cNvPr>
          <p:cNvGrpSpPr/>
          <p:nvPr userDrawn="1"/>
        </p:nvGrpSpPr>
        <p:grpSpPr>
          <a:xfrm>
            <a:off x="406400" y="172212"/>
            <a:ext cx="1320800" cy="518318"/>
            <a:chOff x="406400" y="243682"/>
            <a:chExt cx="1320800" cy="518318"/>
          </a:xfrm>
        </p:grpSpPr>
        <p:sp>
          <p:nvSpPr>
            <p:cNvPr id="13" name="Rectangle 12">
              <a:extLst>
                <a:ext uri="{FF2B5EF4-FFF2-40B4-BE49-F238E27FC236}">
                  <a16:creationId xmlns:a16="http://schemas.microsoft.com/office/drawing/2014/main" id="{97655431-CF1E-0374-1DCE-D00970A9AE77}"/>
                </a:ext>
              </a:extLst>
            </p:cNvPr>
            <p:cNvSpPr/>
            <p:nvPr/>
          </p:nvSpPr>
          <p:spPr>
            <a:xfrm>
              <a:off x="406400" y="243682"/>
              <a:ext cx="101600" cy="5183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4" name="Straight Connector 13">
              <a:extLst>
                <a:ext uri="{FF2B5EF4-FFF2-40B4-BE49-F238E27FC236}">
                  <a16:creationId xmlns:a16="http://schemas.microsoft.com/office/drawing/2014/main" id="{90AFF231-785D-7A76-FA1D-9A6E052E5A44}"/>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88" r:id="rId7"/>
    <p:sldLayoutId id="2147483889" r:id="rId8"/>
    <p:sldLayoutId id="2147483890" r:id="rId9"/>
    <p:sldLayoutId id="2147483891" r:id="rId10"/>
    <p:sldLayoutId id="2147483892" r:id="rId11"/>
    <p:sldLayoutId id="2147483894" r:id="rId12"/>
    <p:sldLayoutId id="2147483895" r:id="rId13"/>
    <p:sldLayoutId id="2147483896" r:id="rId14"/>
    <p:sldLayoutId id="2147483893" r:id="rId15"/>
    <p:sldLayoutId id="2147483877" r:id="rId16"/>
    <p:sldLayoutId id="2147483878" r:id="rId17"/>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816" userDrawn="1">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4A5EC64-97F2-FC8D-CE27-67730C1F1C03}"/>
              </a:ext>
            </a:extLst>
          </p:cNvPr>
          <p:cNvGraphicFramePr>
            <a:graphicFrameLocks noChangeAspect="1"/>
          </p:cNvGraphicFramePr>
          <p:nvPr userDrawn="1">
            <p:custDataLst>
              <p:tags r:id="rId3"/>
            </p:custDataLst>
            <p:extLst>
              <p:ext uri="{D42A27DB-BD31-4B8C-83A1-F6EECF244321}">
                <p14:modId xmlns:p14="http://schemas.microsoft.com/office/powerpoint/2010/main" val="3708005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3" name="think-cell data - do not delete" hidden="1">
                        <a:extLst>
                          <a:ext uri="{FF2B5EF4-FFF2-40B4-BE49-F238E27FC236}">
                            <a16:creationId xmlns:a16="http://schemas.microsoft.com/office/drawing/2014/main" id="{D4A5EC64-97F2-FC8D-CE27-67730C1F1C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p:cNvSpPr/>
          <p:nvPr/>
        </p:nvSpPr>
        <p:spPr>
          <a:xfrm>
            <a:off x="4876800" y="0"/>
            <a:ext cx="7315200" cy="6858000"/>
          </a:xfrm>
          <a:prstGeom prst="rect">
            <a:avLst/>
          </a:prstGeom>
          <a:solidFill>
            <a:srgbClr val="E6EBF0"/>
          </a:solidFill>
          <a:ln>
            <a:noFill/>
          </a:ln>
          <a:effectLst>
            <a:outerShdw blurRad="50800" dist="38100" dir="11400000" algn="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 name="Picture 1">
            <a:extLst>
              <a:ext uri="{FF2B5EF4-FFF2-40B4-BE49-F238E27FC236}">
                <a16:creationId xmlns:a16="http://schemas.microsoft.com/office/drawing/2014/main" id="{B847D438-DAAD-88D4-D035-DFBF79CDE65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7200" y="2495274"/>
            <a:ext cx="3989513" cy="1543326"/>
          </a:xfrm>
          <a:prstGeom prst="rect">
            <a:avLst/>
          </a:prstGeom>
        </p:spPr>
      </p:pic>
    </p:spTree>
    <p:extLst>
      <p:ext uri="{BB962C8B-B14F-4D97-AF65-F5344CB8AC3E}">
        <p14:creationId xmlns:p14="http://schemas.microsoft.com/office/powerpoint/2010/main" val="1303616592"/>
      </p:ext>
    </p:extLst>
  </p:cSld>
  <p:clrMap bg1="lt1" tx1="dk1" bg2="lt2" tx2="dk2" accent1="accent1" accent2="accent2" accent3="accent3" accent4="accent4" accent5="accent5" accent6="accent6" hlink="hlink" folHlink="folHlink"/>
  <p:sldLayoutIdLst>
    <p:sldLayoutId id="2147483900"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164D7AF-E2F5-1599-41AA-3C3E7364C4D0}"/>
              </a:ext>
            </a:extLst>
          </p:cNvPr>
          <p:cNvSpPr/>
          <p:nvPr/>
        </p:nvSpPr>
        <p:spPr>
          <a:xfrm>
            <a:off x="11379203" y="6477005"/>
            <a:ext cx="711199" cy="381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2" name="Rectangle 1">
            <a:extLst>
              <a:ext uri="{FF2B5EF4-FFF2-40B4-BE49-F238E27FC236}">
                <a16:creationId xmlns:a16="http://schemas.microsoft.com/office/drawing/2014/main" id="{BC265F66-6D17-D963-C0E8-D5570992A0F6}"/>
              </a:ext>
            </a:extLst>
          </p:cNvPr>
          <p:cNvSpPr/>
          <p:nvPr/>
        </p:nvSpPr>
        <p:spPr>
          <a:xfrm>
            <a:off x="12026174" y="6477000"/>
            <a:ext cx="165825" cy="381000"/>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5" name="Footer Placeholder 4"/>
          <p:cNvSpPr>
            <a:spLocks noGrp="1"/>
          </p:cNvSpPr>
          <p:nvPr>
            <p:ph type="ftr" sz="quarter" idx="3"/>
          </p:nvPr>
        </p:nvSpPr>
        <p:spPr>
          <a:xfrm>
            <a:off x="3403600" y="6553200"/>
            <a:ext cx="5384800" cy="228600"/>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solidFill>
                  <a:prstClr val="black">
                    <a:tint val="75000"/>
                  </a:prstClr>
                </a:solidFill>
              </a:rPr>
              <a:t>Use or disclosure of information contained on this page is subject to the restrictions on the title page.</a:t>
            </a:r>
          </a:p>
        </p:txBody>
      </p:sp>
      <p:cxnSp>
        <p:nvCxnSpPr>
          <p:cNvPr id="7" name="Straight Connector 6"/>
          <p:cNvCxnSpPr>
            <a:cxnSpLocks/>
          </p:cNvCxnSpPr>
          <p:nvPr/>
        </p:nvCxnSpPr>
        <p:spPr>
          <a:xfrm>
            <a:off x="101600" y="6477000"/>
            <a:ext cx="660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a:cxnSpLocks/>
          </p:cNvCxnSpPr>
          <p:nvPr/>
        </p:nvCxnSpPr>
        <p:spPr>
          <a:xfrm>
            <a:off x="2133600" y="6477006"/>
            <a:ext cx="99364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72903" y="6553200"/>
            <a:ext cx="943100" cy="253916"/>
          </a:xfrm>
          <a:prstGeom prst="rect">
            <a:avLst/>
          </a:prstGeom>
          <a:noFill/>
        </p:spPr>
        <p:txBody>
          <a:bodyPr wrap="square" rtlCol="0">
            <a:spAutoFit/>
          </a:bodyPr>
          <a:lstStyle/>
          <a:p>
            <a:r>
              <a:rPr lang="en-US" sz="1000" b="1">
                <a:solidFill>
                  <a:schemeClr val="tx1"/>
                </a:solidFill>
              </a:rPr>
              <a:t>PUBLIC</a:t>
            </a:r>
          </a:p>
        </p:txBody>
      </p:sp>
      <p:sp>
        <p:nvSpPr>
          <p:cNvPr id="6" name="Slide Number Placeholder 5">
            <a:extLst>
              <a:ext uri="{FF2B5EF4-FFF2-40B4-BE49-F238E27FC236}">
                <a16:creationId xmlns:a16="http://schemas.microsoft.com/office/drawing/2014/main" id="{CF415D4E-E4EE-28DF-8C01-159908B931D3}"/>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pic>
        <p:nvPicPr>
          <p:cNvPr id="3" name="Picture 2">
            <a:extLst>
              <a:ext uri="{FF2B5EF4-FFF2-40B4-BE49-F238E27FC236}">
                <a16:creationId xmlns:a16="http://schemas.microsoft.com/office/drawing/2014/main" id="{C0578DE2-3155-2E8B-BE55-260C3ABC19B3}"/>
              </a:ext>
            </a:extLst>
          </p:cNvPr>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graphicFrame>
        <p:nvGraphicFramePr>
          <p:cNvPr id="10" name="Object 9" hidden="1">
            <a:extLst>
              <a:ext uri="{FF2B5EF4-FFF2-40B4-BE49-F238E27FC236}">
                <a16:creationId xmlns:a16="http://schemas.microsoft.com/office/drawing/2014/main" id="{FAB400EA-9477-D497-60D9-CA7E25BF3AC3}"/>
              </a:ext>
            </a:extLst>
          </p:cNvPr>
          <p:cNvGraphicFramePr>
            <a:graphicFrameLocks noChangeAspect="1"/>
          </p:cNvGraphicFramePr>
          <p:nvPr userDrawn="1">
            <p:custDataLst>
              <p:tags r:id="rId22"/>
            </p:custDataLst>
            <p:extLst>
              <p:ext uri="{D42A27DB-BD31-4B8C-83A1-F6EECF244321}">
                <p14:modId xmlns:p14="http://schemas.microsoft.com/office/powerpoint/2010/main" val="1584283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413" imgH="416" progId="TCLayout.ActiveDocument.1">
                  <p:embed/>
                </p:oleObj>
              </mc:Choice>
              <mc:Fallback>
                <p:oleObj name="think-cell Slide" r:id="rId43" imgW="413" imgH="416" progId="TCLayout.ActiveDocument.1">
                  <p:embed/>
                  <p:pic>
                    <p:nvPicPr>
                      <p:cNvPr id="10" name="Object 9" hidden="1">
                        <a:extLst>
                          <a:ext uri="{FF2B5EF4-FFF2-40B4-BE49-F238E27FC236}">
                            <a16:creationId xmlns:a16="http://schemas.microsoft.com/office/drawing/2014/main" id="{FAB400EA-9477-D497-60D9-CA7E25BF3AC3}"/>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9D33E085-8274-B1E3-9CD0-98828EDF6D6C}"/>
              </a:ext>
            </a:extLst>
          </p:cNvPr>
          <p:cNvSpPr/>
          <p:nvPr userDrawn="1">
            <p:custDataLst>
              <p:tags r:id="rId2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2" name="SlideLogoText" hidden="1">
            <a:extLst>
              <a:ext uri="{FF2B5EF4-FFF2-40B4-BE49-F238E27FC236}">
                <a16:creationId xmlns:a16="http://schemas.microsoft.com/office/drawing/2014/main" id="{35A42CF9-16F0-1E61-6823-12991DAA8F88}"/>
              </a:ext>
            </a:extLst>
          </p:cNvPr>
          <p:cNvSpPr txBox="1"/>
          <p:nvPr userDrawn="1">
            <p:custDataLst>
              <p:tags r:id="rId24"/>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3" name="4. Footnote" hidden="1">
            <a:extLst>
              <a:ext uri="{FF2B5EF4-FFF2-40B4-BE49-F238E27FC236}">
                <a16:creationId xmlns:a16="http://schemas.microsoft.com/office/drawing/2014/main" id="{C218F893-9887-AB8B-7703-A7C50C57B496}"/>
              </a:ext>
            </a:extLst>
          </p:cNvPr>
          <p:cNvSpPr txBox="1"/>
          <p:nvPr userDrawn="1">
            <p:custDataLst>
              <p:tags r:id="rId25"/>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latin typeface="+mn-lt"/>
                <a:ea typeface="+mn-ea"/>
                <a:cs typeface="Arial" panose="020B0604020202020204" pitchFamily="34" charset="0"/>
              </a:rPr>
              <a:t>Footnotes</a:t>
            </a:r>
          </a:p>
        </p:txBody>
      </p:sp>
      <p:pic>
        <p:nvPicPr>
          <p:cNvPr id="14" name="Grid" hidden="1">
            <a:extLst>
              <a:ext uri="{FF2B5EF4-FFF2-40B4-BE49-F238E27FC236}">
                <a16:creationId xmlns:a16="http://schemas.microsoft.com/office/drawing/2014/main" id="{C6232D4B-3065-D235-453A-7E1926184B4E}"/>
              </a:ext>
            </a:extLst>
          </p:cNvPr>
          <p:cNvPicPr>
            <a:picLocks noChangeAspect="1"/>
          </p:cNvPicPr>
          <p:nvPr userDrawn="1">
            <p:custDataLst>
              <p:tags r:id="rId26"/>
            </p:custDataLst>
          </p:nvPr>
        </p:nvPicPr>
        <p:blipFill>
          <a:blip r:embed="rId45">
            <a:extLst>
              <a:ext uri="{96DAC541-7B7A-43D3-8B79-37D633B846F1}">
                <asvg:svgBlip xmlns:asvg="http://schemas.microsoft.com/office/drawing/2016/SVG/main" r:embed="rId46"/>
              </a:ext>
            </a:extLst>
          </a:blip>
          <a:stretch>
            <a:fillRect/>
          </a:stretch>
        </p:blipFill>
        <p:spPr>
          <a:xfrm>
            <a:off x="3699" y="0"/>
            <a:ext cx="12184602" cy="6858000"/>
          </a:xfrm>
          <a:prstGeom prst="rect">
            <a:avLst/>
          </a:prstGeom>
        </p:spPr>
      </p:pic>
      <p:grpSp>
        <p:nvGrpSpPr>
          <p:cNvPr id="15" name="LegendBoxes" hidden="1">
            <a:extLst>
              <a:ext uri="{FF2B5EF4-FFF2-40B4-BE49-F238E27FC236}">
                <a16:creationId xmlns:a16="http://schemas.microsoft.com/office/drawing/2014/main" id="{5F09ECC7-D90B-65F5-8682-C3C6D7E5A619}"/>
              </a:ext>
            </a:extLst>
          </p:cNvPr>
          <p:cNvGrpSpPr/>
          <p:nvPr userDrawn="1"/>
        </p:nvGrpSpPr>
        <p:grpSpPr>
          <a:xfrm>
            <a:off x="10728000" y="4323600"/>
            <a:ext cx="984864" cy="1717282"/>
            <a:chOff x="9585951" y="2980105"/>
            <a:chExt cx="984864" cy="1717282"/>
          </a:xfrm>
        </p:grpSpPr>
        <p:sp>
          <p:nvSpPr>
            <p:cNvPr id="16" name="RectangleLegend1">
              <a:extLst>
                <a:ext uri="{FF2B5EF4-FFF2-40B4-BE49-F238E27FC236}">
                  <a16:creationId xmlns:a16="http://schemas.microsoft.com/office/drawing/2014/main" id="{295C1AD3-DBA3-B62F-884B-990E1C9B55E8}"/>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7" name="RectangleLegend2">
              <a:extLst>
                <a:ext uri="{FF2B5EF4-FFF2-40B4-BE49-F238E27FC236}">
                  <a16:creationId xmlns:a16="http://schemas.microsoft.com/office/drawing/2014/main" id="{98D8C887-03FD-79A9-DBDE-E80DFADC517F}"/>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 name="RectangleLegend3">
              <a:extLst>
                <a:ext uri="{FF2B5EF4-FFF2-40B4-BE49-F238E27FC236}">
                  <a16:creationId xmlns:a16="http://schemas.microsoft.com/office/drawing/2014/main" id="{3B4BF914-0DD7-0B46-00BB-928D7042F2FF}"/>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 name="RectangleLegend4">
              <a:extLst>
                <a:ext uri="{FF2B5EF4-FFF2-40B4-BE49-F238E27FC236}">
                  <a16:creationId xmlns:a16="http://schemas.microsoft.com/office/drawing/2014/main" id="{EFF2A0CA-C5D5-2725-7E38-65D219E04931}"/>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0" name="RectangleLegend5">
              <a:extLst>
                <a:ext uri="{FF2B5EF4-FFF2-40B4-BE49-F238E27FC236}">
                  <a16:creationId xmlns:a16="http://schemas.microsoft.com/office/drawing/2014/main" id="{336198E3-88BB-A993-D542-24903E79AA25}"/>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 name="Legend1">
              <a:extLst>
                <a:ext uri="{FF2B5EF4-FFF2-40B4-BE49-F238E27FC236}">
                  <a16:creationId xmlns:a16="http://schemas.microsoft.com/office/drawing/2014/main" id="{A3BD107B-B29B-4C5E-1C51-C48B5371117E}"/>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2" name="Legend2">
              <a:extLst>
                <a:ext uri="{FF2B5EF4-FFF2-40B4-BE49-F238E27FC236}">
                  <a16:creationId xmlns:a16="http://schemas.microsoft.com/office/drawing/2014/main" id="{53EBF329-8EF0-6A1E-3191-57E7A0B5ED6E}"/>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3" name="Legend3">
              <a:extLst>
                <a:ext uri="{FF2B5EF4-FFF2-40B4-BE49-F238E27FC236}">
                  <a16:creationId xmlns:a16="http://schemas.microsoft.com/office/drawing/2014/main" id="{2D8EF920-88C3-BC26-61A3-E56DF821526F}"/>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4" name="Legend4">
              <a:extLst>
                <a:ext uri="{FF2B5EF4-FFF2-40B4-BE49-F238E27FC236}">
                  <a16:creationId xmlns:a16="http://schemas.microsoft.com/office/drawing/2014/main" id="{770A2BF3-EB45-591A-90AE-FD06D584FF16}"/>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5" name="Legend5">
              <a:extLst>
                <a:ext uri="{FF2B5EF4-FFF2-40B4-BE49-F238E27FC236}">
                  <a16:creationId xmlns:a16="http://schemas.microsoft.com/office/drawing/2014/main" id="{01702509-1DA7-62F8-64F2-D244E680484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grpSp>
        <p:nvGrpSpPr>
          <p:cNvPr id="26" name="LegendMoons" hidden="1">
            <a:extLst>
              <a:ext uri="{FF2B5EF4-FFF2-40B4-BE49-F238E27FC236}">
                <a16:creationId xmlns:a16="http://schemas.microsoft.com/office/drawing/2014/main" id="{88587956-8CA8-FB82-D2EE-DDBCD6EBF648}"/>
              </a:ext>
            </a:extLst>
          </p:cNvPr>
          <p:cNvGrpSpPr/>
          <p:nvPr userDrawn="1"/>
        </p:nvGrpSpPr>
        <p:grpSpPr>
          <a:xfrm>
            <a:off x="10692000" y="1339200"/>
            <a:ext cx="1023616" cy="1731859"/>
            <a:chOff x="7723680" y="1702457"/>
            <a:chExt cx="1023616" cy="1731859"/>
          </a:xfrm>
        </p:grpSpPr>
        <p:sp>
          <p:nvSpPr>
            <p:cNvPr id="27" name="Legend1">
              <a:extLst>
                <a:ext uri="{FF2B5EF4-FFF2-40B4-BE49-F238E27FC236}">
                  <a16:creationId xmlns:a16="http://schemas.microsoft.com/office/drawing/2014/main" id="{FDB17389-F5D8-6FA9-642C-21E31C4F5276}"/>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8" name="Legend2">
              <a:extLst>
                <a:ext uri="{FF2B5EF4-FFF2-40B4-BE49-F238E27FC236}">
                  <a16:creationId xmlns:a16="http://schemas.microsoft.com/office/drawing/2014/main" id="{37A6BE9D-64D3-BD54-87AC-828E711F6B29}"/>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9" name="Legend3">
              <a:extLst>
                <a:ext uri="{FF2B5EF4-FFF2-40B4-BE49-F238E27FC236}">
                  <a16:creationId xmlns:a16="http://schemas.microsoft.com/office/drawing/2014/main" id="{1E916BA0-006C-F5A5-27C9-112F52DF787D}"/>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30" name="Legend4">
              <a:extLst>
                <a:ext uri="{FF2B5EF4-FFF2-40B4-BE49-F238E27FC236}">
                  <a16:creationId xmlns:a16="http://schemas.microsoft.com/office/drawing/2014/main" id="{E13C4E63-3FE4-0DC8-FEF5-DF1495523154}"/>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31" name="Legend5">
              <a:extLst>
                <a:ext uri="{FF2B5EF4-FFF2-40B4-BE49-F238E27FC236}">
                  <a16:creationId xmlns:a16="http://schemas.microsoft.com/office/drawing/2014/main" id="{7714C7B9-1536-6F7E-6024-80EA7591CA2B}"/>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nvGrpSpPr>
            <p:cNvPr id="32" name="MoonLegend1">
              <a:extLst>
                <a:ext uri="{FF2B5EF4-FFF2-40B4-BE49-F238E27FC236}">
                  <a16:creationId xmlns:a16="http://schemas.microsoft.com/office/drawing/2014/main" id="{475D5209-431D-B5CE-D461-706C52E2A82A}"/>
                </a:ext>
              </a:extLst>
            </p:cNvPr>
            <p:cNvGrpSpPr>
              <a:grpSpLocks noChangeAspect="1"/>
            </p:cNvGrpSpPr>
            <p:nvPr>
              <p:custDataLst>
                <p:tags r:id="rId27"/>
              </p:custDataLst>
            </p:nvPr>
          </p:nvGrpSpPr>
          <p:grpSpPr>
            <a:xfrm>
              <a:off x="7723680" y="1702457"/>
              <a:ext cx="228600" cy="228600"/>
              <a:chOff x="762000" y="1270000"/>
              <a:chExt cx="254000" cy="254000"/>
            </a:xfrm>
          </p:grpSpPr>
          <p:sp>
            <p:nvSpPr>
              <p:cNvPr id="45" name="Oval 44">
                <a:extLst>
                  <a:ext uri="{FF2B5EF4-FFF2-40B4-BE49-F238E27FC236}">
                    <a16:creationId xmlns:a16="http://schemas.microsoft.com/office/drawing/2014/main" id="{D4A3622F-66AE-96B3-A33D-909E550C157C}"/>
                  </a:ext>
                </a:extLst>
              </p:cNvPr>
              <p:cNvSpPr/>
              <p:nvPr>
                <p:custDataLst>
                  <p:tags r:id="rId40"/>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46" name="Arc 45" hidden="1">
                <a:extLst>
                  <a:ext uri="{FF2B5EF4-FFF2-40B4-BE49-F238E27FC236}">
                    <a16:creationId xmlns:a16="http://schemas.microsoft.com/office/drawing/2014/main" id="{DF0BA99E-1F69-A31A-C4C2-0F4087454C87}"/>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33" name="MoonLegend2">
              <a:extLst>
                <a:ext uri="{FF2B5EF4-FFF2-40B4-BE49-F238E27FC236}">
                  <a16:creationId xmlns:a16="http://schemas.microsoft.com/office/drawing/2014/main" id="{F8F2A8D6-D91C-EDC4-4F99-B5C4A9D7D721}"/>
                </a:ext>
              </a:extLst>
            </p:cNvPr>
            <p:cNvGrpSpPr>
              <a:grpSpLocks noChangeAspect="1"/>
            </p:cNvGrpSpPr>
            <p:nvPr>
              <p:custDataLst>
                <p:tags r:id="rId28"/>
              </p:custDataLst>
            </p:nvPr>
          </p:nvGrpSpPr>
          <p:grpSpPr>
            <a:xfrm>
              <a:off x="7723680" y="2078270"/>
              <a:ext cx="228600" cy="228600"/>
              <a:chOff x="762000" y="1270000"/>
              <a:chExt cx="254000" cy="254000"/>
            </a:xfrm>
          </p:grpSpPr>
          <p:sp>
            <p:nvSpPr>
              <p:cNvPr id="43" name="Oval 42">
                <a:extLst>
                  <a:ext uri="{FF2B5EF4-FFF2-40B4-BE49-F238E27FC236}">
                    <a16:creationId xmlns:a16="http://schemas.microsoft.com/office/drawing/2014/main" id="{0C00A40B-7108-0B6A-EC63-C75E23768138}"/>
                  </a:ext>
                </a:extLst>
              </p:cNvPr>
              <p:cNvSpPr/>
              <p:nvPr>
                <p:custDataLst>
                  <p:tags r:id="rId38"/>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44" name="Arc 43">
                <a:extLst>
                  <a:ext uri="{FF2B5EF4-FFF2-40B4-BE49-F238E27FC236}">
                    <a16:creationId xmlns:a16="http://schemas.microsoft.com/office/drawing/2014/main" id="{F2468721-1B1F-AC10-C043-7A3AAC06585E}"/>
                  </a:ext>
                </a:extLst>
              </p:cNvPr>
              <p:cNvSpPr/>
              <p:nvPr>
                <p:custDataLst>
                  <p:tags r:id="rId39"/>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34" name="MoonLegend3">
              <a:extLst>
                <a:ext uri="{FF2B5EF4-FFF2-40B4-BE49-F238E27FC236}">
                  <a16:creationId xmlns:a16="http://schemas.microsoft.com/office/drawing/2014/main" id="{554BA107-8899-4375-E55B-DCC1ED2411C7}"/>
                </a:ext>
              </a:extLst>
            </p:cNvPr>
            <p:cNvGrpSpPr>
              <a:grpSpLocks noChangeAspect="1"/>
            </p:cNvGrpSpPr>
            <p:nvPr>
              <p:custDataLst>
                <p:tags r:id="rId29"/>
              </p:custDataLst>
            </p:nvPr>
          </p:nvGrpSpPr>
          <p:grpSpPr>
            <a:xfrm>
              <a:off x="7723680" y="2454085"/>
              <a:ext cx="228600" cy="228600"/>
              <a:chOff x="762000" y="1270000"/>
              <a:chExt cx="254000" cy="254000"/>
            </a:xfrm>
          </p:grpSpPr>
          <p:sp>
            <p:nvSpPr>
              <p:cNvPr id="41" name="Oval 40">
                <a:extLst>
                  <a:ext uri="{FF2B5EF4-FFF2-40B4-BE49-F238E27FC236}">
                    <a16:creationId xmlns:a16="http://schemas.microsoft.com/office/drawing/2014/main" id="{76AF44DE-F549-3C26-D521-02B4ED319312}"/>
                  </a:ext>
                </a:extLst>
              </p:cNvPr>
              <p:cNvSpPr/>
              <p:nvPr>
                <p:custDataLst>
                  <p:tags r:id="rId36"/>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42" name="Arc 41">
                <a:extLst>
                  <a:ext uri="{FF2B5EF4-FFF2-40B4-BE49-F238E27FC236}">
                    <a16:creationId xmlns:a16="http://schemas.microsoft.com/office/drawing/2014/main" id="{44BD150D-53DB-BA53-2379-E78CBA38E405}"/>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35" name="MoonLegend4">
              <a:extLst>
                <a:ext uri="{FF2B5EF4-FFF2-40B4-BE49-F238E27FC236}">
                  <a16:creationId xmlns:a16="http://schemas.microsoft.com/office/drawing/2014/main" id="{107A6735-BE2B-D498-DD65-061C3D579FD7}"/>
                </a:ext>
              </a:extLst>
            </p:cNvPr>
            <p:cNvGrpSpPr>
              <a:grpSpLocks noChangeAspect="1"/>
            </p:cNvGrpSpPr>
            <p:nvPr>
              <p:custDataLst>
                <p:tags r:id="rId30"/>
              </p:custDataLst>
            </p:nvPr>
          </p:nvGrpSpPr>
          <p:grpSpPr>
            <a:xfrm>
              <a:off x="7723680" y="2829900"/>
              <a:ext cx="228600" cy="228600"/>
              <a:chOff x="762000" y="1270000"/>
              <a:chExt cx="254000" cy="254000"/>
            </a:xfrm>
          </p:grpSpPr>
          <p:sp>
            <p:nvSpPr>
              <p:cNvPr id="39" name="Oval 38">
                <a:extLst>
                  <a:ext uri="{FF2B5EF4-FFF2-40B4-BE49-F238E27FC236}">
                    <a16:creationId xmlns:a16="http://schemas.microsoft.com/office/drawing/2014/main" id="{262C738C-8413-C364-5FE0-8EF3E4A2EC6C}"/>
                  </a:ext>
                </a:extLst>
              </p:cNvPr>
              <p:cNvSpPr/>
              <p:nvPr>
                <p:custDataLst>
                  <p:tags r:id="rId34"/>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40" name="Arc 39">
                <a:extLst>
                  <a:ext uri="{FF2B5EF4-FFF2-40B4-BE49-F238E27FC236}">
                    <a16:creationId xmlns:a16="http://schemas.microsoft.com/office/drawing/2014/main" id="{BDCD46EA-39C9-413E-2501-2AC336710AC4}"/>
                  </a:ext>
                </a:extLst>
              </p:cNvPr>
              <p:cNvSpPr/>
              <p:nvPr>
                <p:custDataLst>
                  <p:tags r:id="rId35"/>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36" name="MoonLegend5">
              <a:extLst>
                <a:ext uri="{FF2B5EF4-FFF2-40B4-BE49-F238E27FC236}">
                  <a16:creationId xmlns:a16="http://schemas.microsoft.com/office/drawing/2014/main" id="{AF6C5F6B-12CE-7DFA-F31B-A3AAC2B41E18}"/>
                </a:ext>
              </a:extLst>
            </p:cNvPr>
            <p:cNvGrpSpPr>
              <a:grpSpLocks noChangeAspect="1"/>
            </p:cNvGrpSpPr>
            <p:nvPr>
              <p:custDataLst>
                <p:tags r:id="rId31"/>
              </p:custDataLst>
            </p:nvPr>
          </p:nvGrpSpPr>
          <p:grpSpPr>
            <a:xfrm>
              <a:off x="7723680" y="3205716"/>
              <a:ext cx="228600" cy="228600"/>
              <a:chOff x="762000" y="1270000"/>
              <a:chExt cx="254000" cy="254000"/>
            </a:xfrm>
          </p:grpSpPr>
          <p:sp>
            <p:nvSpPr>
              <p:cNvPr id="37" name="Oval 36">
                <a:extLst>
                  <a:ext uri="{FF2B5EF4-FFF2-40B4-BE49-F238E27FC236}">
                    <a16:creationId xmlns:a16="http://schemas.microsoft.com/office/drawing/2014/main" id="{3850A472-A399-48EC-5A37-44ADED0D3235}"/>
                  </a:ext>
                </a:extLst>
              </p:cNvPr>
              <p:cNvSpPr/>
              <p:nvPr>
                <p:custDataLst>
                  <p:tags r:id="rId32"/>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38" name="Arc 37">
                <a:extLst>
                  <a:ext uri="{FF2B5EF4-FFF2-40B4-BE49-F238E27FC236}">
                    <a16:creationId xmlns:a16="http://schemas.microsoft.com/office/drawing/2014/main" id="{BC3CABBB-3C87-D41E-41C7-08CC6DB67937}"/>
                  </a:ext>
                </a:extLst>
              </p:cNvPr>
              <p:cNvSpPr/>
              <p:nvPr>
                <p:custDataLst>
                  <p:tags r:id="rId33"/>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47" name="Sticker" hidden="1">
            <a:extLst>
              <a:ext uri="{FF2B5EF4-FFF2-40B4-BE49-F238E27FC236}">
                <a16:creationId xmlns:a16="http://schemas.microsoft.com/office/drawing/2014/main" id="{AE6449B4-9FE2-B6CD-6C23-856F8AFF7C6D}"/>
              </a:ext>
            </a:extLst>
          </p:cNvPr>
          <p:cNvGrpSpPr>
            <a:grpSpLocks noChangeAspect="1"/>
          </p:cNvGrpSpPr>
          <p:nvPr userDrawn="1"/>
        </p:nvGrpSpPr>
        <p:grpSpPr bwMode="gray">
          <a:xfrm>
            <a:off x="558192" y="1289273"/>
            <a:ext cx="429605" cy="156997"/>
            <a:chOff x="8456447" y="272180"/>
            <a:chExt cx="322188" cy="156966"/>
          </a:xfrm>
        </p:grpSpPr>
        <p:sp>
          <p:nvSpPr>
            <p:cNvPr id="48" name="StickerRectangle">
              <a:extLst>
                <a:ext uri="{FF2B5EF4-FFF2-40B4-BE49-F238E27FC236}">
                  <a16:creationId xmlns:a16="http://schemas.microsoft.com/office/drawing/2014/main" id="{105ED401-8BCF-F2F5-AABC-BDA3E53286F7}"/>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a:ln w="3175">
                    <a:noFill/>
                  </a:ln>
                  <a:solidFill>
                    <a:schemeClr val="tx1"/>
                  </a:solidFill>
                </a:rPr>
                <a:t>Sticker</a:t>
              </a:r>
              <a:endParaRPr lang="en-US" sz="800" baseline="0">
                <a:solidFill>
                  <a:schemeClr val="tx1"/>
                </a:solidFill>
                <a:latin typeface="+mn-lt"/>
                <a:ea typeface="+mn-ea"/>
              </a:endParaRPr>
            </a:p>
          </p:txBody>
        </p:sp>
        <p:cxnSp>
          <p:nvCxnSpPr>
            <p:cNvPr id="49" name="StickerUnderline">
              <a:extLst>
                <a:ext uri="{FF2B5EF4-FFF2-40B4-BE49-F238E27FC236}">
                  <a16:creationId xmlns:a16="http://schemas.microsoft.com/office/drawing/2014/main" id="{F4FB3755-02DE-4FBA-B802-BB39ACC97F1D}"/>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50" name="LegendLines" hidden="1">
            <a:extLst>
              <a:ext uri="{FF2B5EF4-FFF2-40B4-BE49-F238E27FC236}">
                <a16:creationId xmlns:a16="http://schemas.microsoft.com/office/drawing/2014/main" id="{EC3E81B5-4B70-C4E3-8917-5CA9B41E6F17}"/>
              </a:ext>
            </a:extLst>
          </p:cNvPr>
          <p:cNvGrpSpPr/>
          <p:nvPr userDrawn="1"/>
        </p:nvGrpSpPr>
        <p:grpSpPr>
          <a:xfrm>
            <a:off x="10440000" y="3243600"/>
            <a:ext cx="1269335" cy="958286"/>
            <a:chOff x="4372690" y="3739101"/>
            <a:chExt cx="1269335" cy="958286"/>
          </a:xfrm>
        </p:grpSpPr>
        <p:sp>
          <p:nvSpPr>
            <p:cNvPr id="51" name="Legend1">
              <a:extLst>
                <a:ext uri="{FF2B5EF4-FFF2-40B4-BE49-F238E27FC236}">
                  <a16:creationId xmlns:a16="http://schemas.microsoft.com/office/drawing/2014/main" id="{1D0378DD-7983-F5DD-5F8F-3496419F9753}"/>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52" name="Legend2">
              <a:extLst>
                <a:ext uri="{FF2B5EF4-FFF2-40B4-BE49-F238E27FC236}">
                  <a16:creationId xmlns:a16="http://schemas.microsoft.com/office/drawing/2014/main" id="{7BB35AEB-93ED-578D-D059-8C282EF52B9A}"/>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53" name="Legend3">
              <a:extLst>
                <a:ext uri="{FF2B5EF4-FFF2-40B4-BE49-F238E27FC236}">
                  <a16:creationId xmlns:a16="http://schemas.microsoft.com/office/drawing/2014/main" id="{F22F47E0-3E49-852B-AF39-D7BAA9926BB5}"/>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54" name="LineLegend3">
              <a:extLst>
                <a:ext uri="{FF2B5EF4-FFF2-40B4-BE49-F238E27FC236}">
                  <a16:creationId xmlns:a16="http://schemas.microsoft.com/office/drawing/2014/main" id="{2818FAD9-1884-63E4-1460-1020D6F7D3D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55" name="LineLegend2">
              <a:extLst>
                <a:ext uri="{FF2B5EF4-FFF2-40B4-BE49-F238E27FC236}">
                  <a16:creationId xmlns:a16="http://schemas.microsoft.com/office/drawing/2014/main" id="{6AF9E5CF-3732-8863-AB43-23B1692A27EB}"/>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56" name="LineLegend1">
              <a:extLst>
                <a:ext uri="{FF2B5EF4-FFF2-40B4-BE49-F238E27FC236}">
                  <a16:creationId xmlns:a16="http://schemas.microsoft.com/office/drawing/2014/main" id="{2A227106-84A7-05E7-2C1F-AD246BC89A1A}"/>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grpSp>
    </p:spTree>
    <p:extLst>
      <p:ext uri="{BB962C8B-B14F-4D97-AF65-F5344CB8AC3E}">
        <p14:creationId xmlns:p14="http://schemas.microsoft.com/office/powerpoint/2010/main" val="1775087720"/>
      </p:ext>
    </p:extLst>
  </p:cSld>
  <p:clrMap bg1="lt1" tx1="dk1" bg2="lt2" tx2="dk2" accent1="accent1" accent2="accent2" accent3="accent3" accent4="accent4" accent5="accent5" accent6="accent6" hlink="hlink" folHlink="folHlink"/>
  <p:sldLayoutIdLst>
    <p:sldLayoutId id="2147483902" r:id="rId1"/>
    <p:sldLayoutId id="2147483903" r:id="rId2"/>
    <p:sldLayoutId id="2147483904" r:id="rId3"/>
    <p:sldLayoutId id="2147483905" r:id="rId4"/>
    <p:sldLayoutId id="2147483906" r:id="rId5"/>
    <p:sldLayoutId id="2147483907" r:id="rId6"/>
    <p:sldLayoutId id="2147483908" r:id="rId7"/>
    <p:sldLayoutId id="2147483909" r:id="rId8"/>
    <p:sldLayoutId id="2147483910" r:id="rId9"/>
    <p:sldLayoutId id="2147483911" r:id="rId10"/>
    <p:sldLayoutId id="2147483912" r:id="rId11"/>
    <p:sldLayoutId id="2147483913" r:id="rId12"/>
    <p:sldLayoutId id="2147483914" r:id="rId13"/>
    <p:sldLayoutId id="2147483915" r:id="rId14"/>
    <p:sldLayoutId id="2147483916" r:id="rId15"/>
    <p:sldLayoutId id="2147483917" r:id="rId16"/>
    <p:sldLayoutId id="2147483918" r:id="rId17"/>
    <p:sldLayoutId id="2147483919" r:id="rId18"/>
    <p:sldLayoutId id="2147483920" r:id="rId19"/>
    <p:sldLayoutId id="2147483921" r:id="rId20"/>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38.bin"/><Relationship Id="rId3" Type="http://schemas.openxmlformats.org/officeDocument/2006/relationships/tags" Target="../tags/tag269.xml"/><Relationship Id="rId7" Type="http://schemas.openxmlformats.org/officeDocument/2006/relationships/notesSlide" Target="../notesSlides/notesSlide1.xml"/><Relationship Id="rId2" Type="http://schemas.openxmlformats.org/officeDocument/2006/relationships/tags" Target="../tags/tag268.xml"/><Relationship Id="rId1" Type="http://schemas.openxmlformats.org/officeDocument/2006/relationships/tags" Target="../tags/tag267.xml"/><Relationship Id="rId6" Type="http://schemas.openxmlformats.org/officeDocument/2006/relationships/slideLayout" Target="../slideLayouts/slideLayout32.xml"/><Relationship Id="rId5" Type="http://schemas.openxmlformats.org/officeDocument/2006/relationships/tags" Target="../tags/tag271.xml"/><Relationship Id="rId4" Type="http://schemas.openxmlformats.org/officeDocument/2006/relationships/tags" Target="../tags/tag270.xml"/><Relationship Id="rId9" Type="http://schemas.openxmlformats.org/officeDocument/2006/relationships/image" Target="../media/image6.emf"/></Relationships>
</file>

<file path=ppt/slides/_rels/slide2.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image" Target="../media/image21.png"/><Relationship Id="rId3" Type="http://schemas.openxmlformats.org/officeDocument/2006/relationships/tags" Target="../tags/tag274.xml"/><Relationship Id="rId7" Type="http://schemas.openxmlformats.org/officeDocument/2006/relationships/oleObject" Target="../embeddings/oleObject39.bin"/><Relationship Id="rId12" Type="http://schemas.openxmlformats.org/officeDocument/2006/relationships/image" Target="../media/image20.svg"/><Relationship Id="rId2" Type="http://schemas.openxmlformats.org/officeDocument/2006/relationships/tags" Target="../tags/tag273.xml"/><Relationship Id="rId1" Type="http://schemas.openxmlformats.org/officeDocument/2006/relationships/tags" Target="../tags/tag272.xml"/><Relationship Id="rId6" Type="http://schemas.openxmlformats.org/officeDocument/2006/relationships/slideLayout" Target="../slideLayouts/slideLayout10.xml"/><Relationship Id="rId11" Type="http://schemas.openxmlformats.org/officeDocument/2006/relationships/image" Target="../media/image19.png"/><Relationship Id="rId5" Type="http://schemas.openxmlformats.org/officeDocument/2006/relationships/tags" Target="../tags/tag276.xml"/><Relationship Id="rId10" Type="http://schemas.openxmlformats.org/officeDocument/2006/relationships/image" Target="../media/image18.svg"/><Relationship Id="rId4" Type="http://schemas.openxmlformats.org/officeDocument/2006/relationships/tags" Target="../tags/tag275.xml"/><Relationship Id="rId9" Type="http://schemas.openxmlformats.org/officeDocument/2006/relationships/image" Target="../media/image17.png"/><Relationship Id="rId14" Type="http://schemas.openxmlformats.org/officeDocument/2006/relationships/image" Target="../media/image22.svg"/></Relationships>
</file>

<file path=ppt/slides/_rels/slide3.xml.rels><?xml version="1.0" encoding="UTF-8" standalone="yes"?>
<Relationships xmlns="http://schemas.openxmlformats.org/package/2006/relationships"><Relationship Id="rId8" Type="http://schemas.openxmlformats.org/officeDocument/2006/relationships/tags" Target="../tags/tag284.xml"/><Relationship Id="rId13" Type="http://schemas.openxmlformats.org/officeDocument/2006/relationships/tags" Target="../tags/tag289.xml"/><Relationship Id="rId18" Type="http://schemas.openxmlformats.org/officeDocument/2006/relationships/tags" Target="../tags/tag294.xml"/><Relationship Id="rId26" Type="http://schemas.openxmlformats.org/officeDocument/2006/relationships/tags" Target="../tags/tag302.xml"/><Relationship Id="rId3" Type="http://schemas.openxmlformats.org/officeDocument/2006/relationships/tags" Target="../tags/tag279.xml"/><Relationship Id="rId21" Type="http://schemas.openxmlformats.org/officeDocument/2006/relationships/tags" Target="../tags/tag297.xml"/><Relationship Id="rId7" Type="http://schemas.openxmlformats.org/officeDocument/2006/relationships/tags" Target="../tags/tag283.xml"/><Relationship Id="rId12" Type="http://schemas.openxmlformats.org/officeDocument/2006/relationships/tags" Target="../tags/tag288.xml"/><Relationship Id="rId17" Type="http://schemas.openxmlformats.org/officeDocument/2006/relationships/tags" Target="../tags/tag293.xml"/><Relationship Id="rId25" Type="http://schemas.openxmlformats.org/officeDocument/2006/relationships/tags" Target="../tags/tag301.xml"/><Relationship Id="rId2" Type="http://schemas.openxmlformats.org/officeDocument/2006/relationships/tags" Target="../tags/tag278.xml"/><Relationship Id="rId16" Type="http://schemas.openxmlformats.org/officeDocument/2006/relationships/tags" Target="../tags/tag292.xml"/><Relationship Id="rId20" Type="http://schemas.openxmlformats.org/officeDocument/2006/relationships/tags" Target="../tags/tag296.xml"/><Relationship Id="rId29" Type="http://schemas.openxmlformats.org/officeDocument/2006/relationships/tags" Target="../tags/tag305.xml"/><Relationship Id="rId1" Type="http://schemas.openxmlformats.org/officeDocument/2006/relationships/tags" Target="../tags/tag277.xml"/><Relationship Id="rId6" Type="http://schemas.openxmlformats.org/officeDocument/2006/relationships/tags" Target="../tags/tag282.xml"/><Relationship Id="rId11" Type="http://schemas.openxmlformats.org/officeDocument/2006/relationships/tags" Target="../tags/tag287.xml"/><Relationship Id="rId24" Type="http://schemas.openxmlformats.org/officeDocument/2006/relationships/tags" Target="../tags/tag300.xml"/><Relationship Id="rId32" Type="http://schemas.openxmlformats.org/officeDocument/2006/relationships/image" Target="../media/image10.emf"/><Relationship Id="rId5" Type="http://schemas.openxmlformats.org/officeDocument/2006/relationships/tags" Target="../tags/tag281.xml"/><Relationship Id="rId15" Type="http://schemas.openxmlformats.org/officeDocument/2006/relationships/tags" Target="../tags/tag291.xml"/><Relationship Id="rId23" Type="http://schemas.openxmlformats.org/officeDocument/2006/relationships/tags" Target="../tags/tag299.xml"/><Relationship Id="rId28" Type="http://schemas.openxmlformats.org/officeDocument/2006/relationships/tags" Target="../tags/tag304.xml"/><Relationship Id="rId10" Type="http://schemas.openxmlformats.org/officeDocument/2006/relationships/tags" Target="../tags/tag286.xml"/><Relationship Id="rId19" Type="http://schemas.openxmlformats.org/officeDocument/2006/relationships/tags" Target="../tags/tag295.xml"/><Relationship Id="rId31" Type="http://schemas.openxmlformats.org/officeDocument/2006/relationships/oleObject" Target="../embeddings/oleObject40.bin"/><Relationship Id="rId4" Type="http://schemas.openxmlformats.org/officeDocument/2006/relationships/tags" Target="../tags/tag280.xml"/><Relationship Id="rId9" Type="http://schemas.openxmlformats.org/officeDocument/2006/relationships/tags" Target="../tags/tag285.xml"/><Relationship Id="rId14" Type="http://schemas.openxmlformats.org/officeDocument/2006/relationships/tags" Target="../tags/tag290.xml"/><Relationship Id="rId22" Type="http://schemas.openxmlformats.org/officeDocument/2006/relationships/tags" Target="../tags/tag298.xml"/><Relationship Id="rId27" Type="http://schemas.openxmlformats.org/officeDocument/2006/relationships/tags" Target="../tags/tag303.xml"/><Relationship Id="rId30"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tags" Target="../tags/tag313.xml"/><Relationship Id="rId13" Type="http://schemas.openxmlformats.org/officeDocument/2006/relationships/tags" Target="../tags/tag318.xml"/><Relationship Id="rId18" Type="http://schemas.openxmlformats.org/officeDocument/2006/relationships/tags" Target="../tags/tag323.xml"/><Relationship Id="rId26" Type="http://schemas.openxmlformats.org/officeDocument/2006/relationships/tags" Target="../tags/tag331.xml"/><Relationship Id="rId3" Type="http://schemas.openxmlformats.org/officeDocument/2006/relationships/tags" Target="../tags/tag308.xml"/><Relationship Id="rId21" Type="http://schemas.openxmlformats.org/officeDocument/2006/relationships/tags" Target="../tags/tag326.xml"/><Relationship Id="rId7" Type="http://schemas.openxmlformats.org/officeDocument/2006/relationships/tags" Target="../tags/tag312.xml"/><Relationship Id="rId12" Type="http://schemas.openxmlformats.org/officeDocument/2006/relationships/tags" Target="../tags/tag317.xml"/><Relationship Id="rId17" Type="http://schemas.openxmlformats.org/officeDocument/2006/relationships/tags" Target="../tags/tag322.xml"/><Relationship Id="rId25" Type="http://schemas.openxmlformats.org/officeDocument/2006/relationships/tags" Target="../tags/tag330.xml"/><Relationship Id="rId2" Type="http://schemas.openxmlformats.org/officeDocument/2006/relationships/tags" Target="../tags/tag307.xml"/><Relationship Id="rId16" Type="http://schemas.openxmlformats.org/officeDocument/2006/relationships/tags" Target="../tags/tag321.xml"/><Relationship Id="rId20" Type="http://schemas.openxmlformats.org/officeDocument/2006/relationships/tags" Target="../tags/tag325.xml"/><Relationship Id="rId29" Type="http://schemas.openxmlformats.org/officeDocument/2006/relationships/tags" Target="../tags/tag334.xml"/><Relationship Id="rId1" Type="http://schemas.openxmlformats.org/officeDocument/2006/relationships/tags" Target="../tags/tag306.xml"/><Relationship Id="rId6" Type="http://schemas.openxmlformats.org/officeDocument/2006/relationships/tags" Target="../tags/tag311.xml"/><Relationship Id="rId11" Type="http://schemas.openxmlformats.org/officeDocument/2006/relationships/tags" Target="../tags/tag316.xml"/><Relationship Id="rId24" Type="http://schemas.openxmlformats.org/officeDocument/2006/relationships/tags" Target="../tags/tag329.xml"/><Relationship Id="rId32" Type="http://schemas.openxmlformats.org/officeDocument/2006/relationships/image" Target="../media/image10.emf"/><Relationship Id="rId5" Type="http://schemas.openxmlformats.org/officeDocument/2006/relationships/tags" Target="../tags/tag310.xml"/><Relationship Id="rId15" Type="http://schemas.openxmlformats.org/officeDocument/2006/relationships/tags" Target="../tags/tag320.xml"/><Relationship Id="rId23" Type="http://schemas.openxmlformats.org/officeDocument/2006/relationships/tags" Target="../tags/tag328.xml"/><Relationship Id="rId28" Type="http://schemas.openxmlformats.org/officeDocument/2006/relationships/tags" Target="../tags/tag333.xml"/><Relationship Id="rId10" Type="http://schemas.openxmlformats.org/officeDocument/2006/relationships/tags" Target="../tags/tag315.xml"/><Relationship Id="rId19" Type="http://schemas.openxmlformats.org/officeDocument/2006/relationships/tags" Target="../tags/tag324.xml"/><Relationship Id="rId31" Type="http://schemas.openxmlformats.org/officeDocument/2006/relationships/oleObject" Target="../embeddings/oleObject41.bin"/><Relationship Id="rId4" Type="http://schemas.openxmlformats.org/officeDocument/2006/relationships/tags" Target="../tags/tag309.xml"/><Relationship Id="rId9" Type="http://schemas.openxmlformats.org/officeDocument/2006/relationships/tags" Target="../tags/tag314.xml"/><Relationship Id="rId14" Type="http://schemas.openxmlformats.org/officeDocument/2006/relationships/tags" Target="../tags/tag319.xml"/><Relationship Id="rId22" Type="http://schemas.openxmlformats.org/officeDocument/2006/relationships/tags" Target="../tags/tag327.xml"/><Relationship Id="rId27" Type="http://schemas.openxmlformats.org/officeDocument/2006/relationships/tags" Target="../tags/tag332.xml"/><Relationship Id="rId30"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17" Type="http://schemas.openxmlformats.org/officeDocument/2006/relationships/tags" Target="../tags/tag451.xml"/><Relationship Id="rId21" Type="http://schemas.openxmlformats.org/officeDocument/2006/relationships/tags" Target="../tags/tag355.xml"/><Relationship Id="rId42" Type="http://schemas.openxmlformats.org/officeDocument/2006/relationships/tags" Target="../tags/tag376.xml"/><Relationship Id="rId63" Type="http://schemas.openxmlformats.org/officeDocument/2006/relationships/tags" Target="../tags/tag397.xml"/><Relationship Id="rId84" Type="http://schemas.openxmlformats.org/officeDocument/2006/relationships/tags" Target="../tags/tag418.xml"/><Relationship Id="rId16" Type="http://schemas.openxmlformats.org/officeDocument/2006/relationships/tags" Target="../tags/tag350.xml"/><Relationship Id="rId107" Type="http://schemas.openxmlformats.org/officeDocument/2006/relationships/tags" Target="../tags/tag441.xml"/><Relationship Id="rId11" Type="http://schemas.openxmlformats.org/officeDocument/2006/relationships/tags" Target="../tags/tag345.xml"/><Relationship Id="rId32" Type="http://schemas.openxmlformats.org/officeDocument/2006/relationships/tags" Target="../tags/tag366.xml"/><Relationship Id="rId37" Type="http://schemas.openxmlformats.org/officeDocument/2006/relationships/tags" Target="../tags/tag371.xml"/><Relationship Id="rId53" Type="http://schemas.openxmlformats.org/officeDocument/2006/relationships/tags" Target="../tags/tag387.xml"/><Relationship Id="rId58" Type="http://schemas.openxmlformats.org/officeDocument/2006/relationships/tags" Target="../tags/tag392.xml"/><Relationship Id="rId74" Type="http://schemas.openxmlformats.org/officeDocument/2006/relationships/tags" Target="../tags/tag408.xml"/><Relationship Id="rId79" Type="http://schemas.openxmlformats.org/officeDocument/2006/relationships/tags" Target="../tags/tag413.xml"/><Relationship Id="rId102" Type="http://schemas.openxmlformats.org/officeDocument/2006/relationships/tags" Target="../tags/tag436.xml"/><Relationship Id="rId123" Type="http://schemas.openxmlformats.org/officeDocument/2006/relationships/tags" Target="../tags/tag457.xml"/><Relationship Id="rId128" Type="http://schemas.openxmlformats.org/officeDocument/2006/relationships/tags" Target="../tags/tag462.xml"/><Relationship Id="rId5" Type="http://schemas.openxmlformats.org/officeDocument/2006/relationships/tags" Target="../tags/tag339.xml"/><Relationship Id="rId90" Type="http://schemas.openxmlformats.org/officeDocument/2006/relationships/tags" Target="../tags/tag424.xml"/><Relationship Id="rId95" Type="http://schemas.openxmlformats.org/officeDocument/2006/relationships/tags" Target="../tags/tag429.xml"/><Relationship Id="rId22" Type="http://schemas.openxmlformats.org/officeDocument/2006/relationships/tags" Target="../tags/tag356.xml"/><Relationship Id="rId27" Type="http://schemas.openxmlformats.org/officeDocument/2006/relationships/tags" Target="../tags/tag361.xml"/><Relationship Id="rId43" Type="http://schemas.openxmlformats.org/officeDocument/2006/relationships/tags" Target="../tags/tag377.xml"/><Relationship Id="rId48" Type="http://schemas.openxmlformats.org/officeDocument/2006/relationships/tags" Target="../tags/tag382.xml"/><Relationship Id="rId64" Type="http://schemas.openxmlformats.org/officeDocument/2006/relationships/tags" Target="../tags/tag398.xml"/><Relationship Id="rId69" Type="http://schemas.openxmlformats.org/officeDocument/2006/relationships/tags" Target="../tags/tag403.xml"/><Relationship Id="rId113" Type="http://schemas.openxmlformats.org/officeDocument/2006/relationships/tags" Target="../tags/tag447.xml"/><Relationship Id="rId118" Type="http://schemas.openxmlformats.org/officeDocument/2006/relationships/tags" Target="../tags/tag452.xml"/><Relationship Id="rId134" Type="http://schemas.openxmlformats.org/officeDocument/2006/relationships/oleObject" Target="../embeddings/oleObject42.bin"/><Relationship Id="rId80" Type="http://schemas.openxmlformats.org/officeDocument/2006/relationships/tags" Target="../tags/tag414.xml"/><Relationship Id="rId85" Type="http://schemas.openxmlformats.org/officeDocument/2006/relationships/tags" Target="../tags/tag419.xml"/><Relationship Id="rId12" Type="http://schemas.openxmlformats.org/officeDocument/2006/relationships/tags" Target="../tags/tag346.xml"/><Relationship Id="rId17" Type="http://schemas.openxmlformats.org/officeDocument/2006/relationships/tags" Target="../tags/tag351.xml"/><Relationship Id="rId33" Type="http://schemas.openxmlformats.org/officeDocument/2006/relationships/tags" Target="../tags/tag367.xml"/><Relationship Id="rId38" Type="http://schemas.openxmlformats.org/officeDocument/2006/relationships/tags" Target="../tags/tag372.xml"/><Relationship Id="rId59" Type="http://schemas.openxmlformats.org/officeDocument/2006/relationships/tags" Target="../tags/tag393.xml"/><Relationship Id="rId103" Type="http://schemas.openxmlformats.org/officeDocument/2006/relationships/tags" Target="../tags/tag437.xml"/><Relationship Id="rId108" Type="http://schemas.openxmlformats.org/officeDocument/2006/relationships/tags" Target="../tags/tag442.xml"/><Relationship Id="rId124" Type="http://schemas.openxmlformats.org/officeDocument/2006/relationships/tags" Target="../tags/tag458.xml"/><Relationship Id="rId129" Type="http://schemas.openxmlformats.org/officeDocument/2006/relationships/tags" Target="../tags/tag463.xml"/><Relationship Id="rId54" Type="http://schemas.openxmlformats.org/officeDocument/2006/relationships/tags" Target="../tags/tag388.xml"/><Relationship Id="rId70" Type="http://schemas.openxmlformats.org/officeDocument/2006/relationships/tags" Target="../tags/tag404.xml"/><Relationship Id="rId75" Type="http://schemas.openxmlformats.org/officeDocument/2006/relationships/tags" Target="../tags/tag409.xml"/><Relationship Id="rId91" Type="http://schemas.openxmlformats.org/officeDocument/2006/relationships/tags" Target="../tags/tag425.xml"/><Relationship Id="rId96" Type="http://schemas.openxmlformats.org/officeDocument/2006/relationships/tags" Target="../tags/tag430.xml"/><Relationship Id="rId1" Type="http://schemas.openxmlformats.org/officeDocument/2006/relationships/tags" Target="../tags/tag335.xml"/><Relationship Id="rId6" Type="http://schemas.openxmlformats.org/officeDocument/2006/relationships/tags" Target="../tags/tag340.xml"/><Relationship Id="rId23" Type="http://schemas.openxmlformats.org/officeDocument/2006/relationships/tags" Target="../tags/tag357.xml"/><Relationship Id="rId28" Type="http://schemas.openxmlformats.org/officeDocument/2006/relationships/tags" Target="../tags/tag362.xml"/><Relationship Id="rId49" Type="http://schemas.openxmlformats.org/officeDocument/2006/relationships/tags" Target="../tags/tag383.xml"/><Relationship Id="rId114" Type="http://schemas.openxmlformats.org/officeDocument/2006/relationships/tags" Target="../tags/tag448.xml"/><Relationship Id="rId119" Type="http://schemas.openxmlformats.org/officeDocument/2006/relationships/tags" Target="../tags/tag453.xml"/><Relationship Id="rId44" Type="http://schemas.openxmlformats.org/officeDocument/2006/relationships/tags" Target="../tags/tag378.xml"/><Relationship Id="rId60" Type="http://schemas.openxmlformats.org/officeDocument/2006/relationships/tags" Target="../tags/tag394.xml"/><Relationship Id="rId65" Type="http://schemas.openxmlformats.org/officeDocument/2006/relationships/tags" Target="../tags/tag399.xml"/><Relationship Id="rId81" Type="http://schemas.openxmlformats.org/officeDocument/2006/relationships/tags" Target="../tags/tag415.xml"/><Relationship Id="rId86" Type="http://schemas.openxmlformats.org/officeDocument/2006/relationships/tags" Target="../tags/tag420.xml"/><Relationship Id="rId130" Type="http://schemas.openxmlformats.org/officeDocument/2006/relationships/tags" Target="../tags/tag464.xml"/><Relationship Id="rId135" Type="http://schemas.openxmlformats.org/officeDocument/2006/relationships/image" Target="../media/image10.emf"/><Relationship Id="rId13" Type="http://schemas.openxmlformats.org/officeDocument/2006/relationships/tags" Target="../tags/tag347.xml"/><Relationship Id="rId18" Type="http://schemas.openxmlformats.org/officeDocument/2006/relationships/tags" Target="../tags/tag352.xml"/><Relationship Id="rId39" Type="http://schemas.openxmlformats.org/officeDocument/2006/relationships/tags" Target="../tags/tag373.xml"/><Relationship Id="rId109" Type="http://schemas.openxmlformats.org/officeDocument/2006/relationships/tags" Target="../tags/tag443.xml"/><Relationship Id="rId34" Type="http://schemas.openxmlformats.org/officeDocument/2006/relationships/tags" Target="../tags/tag368.xml"/><Relationship Id="rId50" Type="http://schemas.openxmlformats.org/officeDocument/2006/relationships/tags" Target="../tags/tag384.xml"/><Relationship Id="rId55" Type="http://schemas.openxmlformats.org/officeDocument/2006/relationships/tags" Target="../tags/tag389.xml"/><Relationship Id="rId76" Type="http://schemas.openxmlformats.org/officeDocument/2006/relationships/tags" Target="../tags/tag410.xml"/><Relationship Id="rId97" Type="http://schemas.openxmlformats.org/officeDocument/2006/relationships/tags" Target="../tags/tag431.xml"/><Relationship Id="rId104" Type="http://schemas.openxmlformats.org/officeDocument/2006/relationships/tags" Target="../tags/tag438.xml"/><Relationship Id="rId120" Type="http://schemas.openxmlformats.org/officeDocument/2006/relationships/tags" Target="../tags/tag454.xml"/><Relationship Id="rId125" Type="http://schemas.openxmlformats.org/officeDocument/2006/relationships/tags" Target="../tags/tag459.xml"/><Relationship Id="rId7" Type="http://schemas.openxmlformats.org/officeDocument/2006/relationships/tags" Target="../tags/tag341.xml"/><Relationship Id="rId71" Type="http://schemas.openxmlformats.org/officeDocument/2006/relationships/tags" Target="../tags/tag405.xml"/><Relationship Id="rId92" Type="http://schemas.openxmlformats.org/officeDocument/2006/relationships/tags" Target="../tags/tag426.xml"/><Relationship Id="rId2" Type="http://schemas.openxmlformats.org/officeDocument/2006/relationships/tags" Target="../tags/tag336.xml"/><Relationship Id="rId29" Type="http://schemas.openxmlformats.org/officeDocument/2006/relationships/tags" Target="../tags/tag363.xml"/><Relationship Id="rId24" Type="http://schemas.openxmlformats.org/officeDocument/2006/relationships/tags" Target="../tags/tag358.xml"/><Relationship Id="rId40" Type="http://schemas.openxmlformats.org/officeDocument/2006/relationships/tags" Target="../tags/tag374.xml"/><Relationship Id="rId45" Type="http://schemas.openxmlformats.org/officeDocument/2006/relationships/tags" Target="../tags/tag379.xml"/><Relationship Id="rId66" Type="http://schemas.openxmlformats.org/officeDocument/2006/relationships/tags" Target="../tags/tag400.xml"/><Relationship Id="rId87" Type="http://schemas.openxmlformats.org/officeDocument/2006/relationships/tags" Target="../tags/tag421.xml"/><Relationship Id="rId110" Type="http://schemas.openxmlformats.org/officeDocument/2006/relationships/tags" Target="../tags/tag444.xml"/><Relationship Id="rId115" Type="http://schemas.openxmlformats.org/officeDocument/2006/relationships/tags" Target="../tags/tag449.xml"/><Relationship Id="rId131" Type="http://schemas.openxmlformats.org/officeDocument/2006/relationships/tags" Target="../tags/tag465.xml"/><Relationship Id="rId61" Type="http://schemas.openxmlformats.org/officeDocument/2006/relationships/tags" Target="../tags/tag395.xml"/><Relationship Id="rId82" Type="http://schemas.openxmlformats.org/officeDocument/2006/relationships/tags" Target="../tags/tag416.xml"/><Relationship Id="rId19" Type="http://schemas.openxmlformats.org/officeDocument/2006/relationships/tags" Target="../tags/tag353.xml"/><Relationship Id="rId14" Type="http://schemas.openxmlformats.org/officeDocument/2006/relationships/tags" Target="../tags/tag348.xml"/><Relationship Id="rId30" Type="http://schemas.openxmlformats.org/officeDocument/2006/relationships/tags" Target="../tags/tag364.xml"/><Relationship Id="rId35" Type="http://schemas.openxmlformats.org/officeDocument/2006/relationships/tags" Target="../tags/tag369.xml"/><Relationship Id="rId56" Type="http://schemas.openxmlformats.org/officeDocument/2006/relationships/tags" Target="../tags/tag390.xml"/><Relationship Id="rId77" Type="http://schemas.openxmlformats.org/officeDocument/2006/relationships/tags" Target="../tags/tag411.xml"/><Relationship Id="rId100" Type="http://schemas.openxmlformats.org/officeDocument/2006/relationships/tags" Target="../tags/tag434.xml"/><Relationship Id="rId105" Type="http://schemas.openxmlformats.org/officeDocument/2006/relationships/tags" Target="../tags/tag439.xml"/><Relationship Id="rId126" Type="http://schemas.openxmlformats.org/officeDocument/2006/relationships/tags" Target="../tags/tag460.xml"/><Relationship Id="rId8" Type="http://schemas.openxmlformats.org/officeDocument/2006/relationships/tags" Target="../tags/tag342.xml"/><Relationship Id="rId51" Type="http://schemas.openxmlformats.org/officeDocument/2006/relationships/tags" Target="../tags/tag385.xml"/><Relationship Id="rId72" Type="http://schemas.openxmlformats.org/officeDocument/2006/relationships/tags" Target="../tags/tag406.xml"/><Relationship Id="rId93" Type="http://schemas.openxmlformats.org/officeDocument/2006/relationships/tags" Target="../tags/tag427.xml"/><Relationship Id="rId98" Type="http://schemas.openxmlformats.org/officeDocument/2006/relationships/tags" Target="../tags/tag432.xml"/><Relationship Id="rId121" Type="http://schemas.openxmlformats.org/officeDocument/2006/relationships/tags" Target="../tags/tag455.xml"/><Relationship Id="rId3" Type="http://schemas.openxmlformats.org/officeDocument/2006/relationships/tags" Target="../tags/tag337.xml"/><Relationship Id="rId25" Type="http://schemas.openxmlformats.org/officeDocument/2006/relationships/tags" Target="../tags/tag359.xml"/><Relationship Id="rId46" Type="http://schemas.openxmlformats.org/officeDocument/2006/relationships/tags" Target="../tags/tag380.xml"/><Relationship Id="rId67" Type="http://schemas.openxmlformats.org/officeDocument/2006/relationships/tags" Target="../tags/tag401.xml"/><Relationship Id="rId116" Type="http://schemas.openxmlformats.org/officeDocument/2006/relationships/tags" Target="../tags/tag450.xml"/><Relationship Id="rId20" Type="http://schemas.openxmlformats.org/officeDocument/2006/relationships/tags" Target="../tags/tag354.xml"/><Relationship Id="rId41" Type="http://schemas.openxmlformats.org/officeDocument/2006/relationships/tags" Target="../tags/tag375.xml"/><Relationship Id="rId62" Type="http://schemas.openxmlformats.org/officeDocument/2006/relationships/tags" Target="../tags/tag396.xml"/><Relationship Id="rId83" Type="http://schemas.openxmlformats.org/officeDocument/2006/relationships/tags" Target="../tags/tag417.xml"/><Relationship Id="rId88" Type="http://schemas.openxmlformats.org/officeDocument/2006/relationships/tags" Target="../tags/tag422.xml"/><Relationship Id="rId111" Type="http://schemas.openxmlformats.org/officeDocument/2006/relationships/tags" Target="../tags/tag445.xml"/><Relationship Id="rId132" Type="http://schemas.openxmlformats.org/officeDocument/2006/relationships/tags" Target="../tags/tag466.xml"/><Relationship Id="rId15" Type="http://schemas.openxmlformats.org/officeDocument/2006/relationships/tags" Target="../tags/tag349.xml"/><Relationship Id="rId36" Type="http://schemas.openxmlformats.org/officeDocument/2006/relationships/tags" Target="../tags/tag370.xml"/><Relationship Id="rId57" Type="http://schemas.openxmlformats.org/officeDocument/2006/relationships/tags" Target="../tags/tag391.xml"/><Relationship Id="rId106" Type="http://schemas.openxmlformats.org/officeDocument/2006/relationships/tags" Target="../tags/tag440.xml"/><Relationship Id="rId127" Type="http://schemas.openxmlformats.org/officeDocument/2006/relationships/tags" Target="../tags/tag461.xml"/><Relationship Id="rId10" Type="http://schemas.openxmlformats.org/officeDocument/2006/relationships/tags" Target="../tags/tag344.xml"/><Relationship Id="rId31" Type="http://schemas.openxmlformats.org/officeDocument/2006/relationships/tags" Target="../tags/tag365.xml"/><Relationship Id="rId52" Type="http://schemas.openxmlformats.org/officeDocument/2006/relationships/tags" Target="../tags/tag386.xml"/><Relationship Id="rId73" Type="http://schemas.openxmlformats.org/officeDocument/2006/relationships/tags" Target="../tags/tag407.xml"/><Relationship Id="rId78" Type="http://schemas.openxmlformats.org/officeDocument/2006/relationships/tags" Target="../tags/tag412.xml"/><Relationship Id="rId94" Type="http://schemas.openxmlformats.org/officeDocument/2006/relationships/tags" Target="../tags/tag428.xml"/><Relationship Id="rId99" Type="http://schemas.openxmlformats.org/officeDocument/2006/relationships/tags" Target="../tags/tag433.xml"/><Relationship Id="rId101" Type="http://schemas.openxmlformats.org/officeDocument/2006/relationships/tags" Target="../tags/tag435.xml"/><Relationship Id="rId122" Type="http://schemas.openxmlformats.org/officeDocument/2006/relationships/tags" Target="../tags/tag456.xml"/><Relationship Id="rId4" Type="http://schemas.openxmlformats.org/officeDocument/2006/relationships/tags" Target="../tags/tag338.xml"/><Relationship Id="rId9" Type="http://schemas.openxmlformats.org/officeDocument/2006/relationships/tags" Target="../tags/tag343.xml"/><Relationship Id="rId26" Type="http://schemas.openxmlformats.org/officeDocument/2006/relationships/tags" Target="../tags/tag360.xml"/><Relationship Id="rId47" Type="http://schemas.openxmlformats.org/officeDocument/2006/relationships/tags" Target="../tags/tag381.xml"/><Relationship Id="rId68" Type="http://schemas.openxmlformats.org/officeDocument/2006/relationships/tags" Target="../tags/tag402.xml"/><Relationship Id="rId89" Type="http://schemas.openxmlformats.org/officeDocument/2006/relationships/tags" Target="../tags/tag423.xml"/><Relationship Id="rId112" Type="http://schemas.openxmlformats.org/officeDocument/2006/relationships/tags" Target="../tags/tag446.xml"/><Relationship Id="rId133"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17" Type="http://schemas.openxmlformats.org/officeDocument/2006/relationships/tags" Target="../tags/tag583.xml"/><Relationship Id="rId21" Type="http://schemas.openxmlformats.org/officeDocument/2006/relationships/tags" Target="../tags/tag487.xml"/><Relationship Id="rId42" Type="http://schemas.openxmlformats.org/officeDocument/2006/relationships/tags" Target="../tags/tag508.xml"/><Relationship Id="rId63" Type="http://schemas.openxmlformats.org/officeDocument/2006/relationships/tags" Target="../tags/tag529.xml"/><Relationship Id="rId84" Type="http://schemas.openxmlformats.org/officeDocument/2006/relationships/tags" Target="../tags/tag550.xml"/><Relationship Id="rId16" Type="http://schemas.openxmlformats.org/officeDocument/2006/relationships/tags" Target="../tags/tag482.xml"/><Relationship Id="rId107" Type="http://schemas.openxmlformats.org/officeDocument/2006/relationships/tags" Target="../tags/tag573.xml"/><Relationship Id="rId11" Type="http://schemas.openxmlformats.org/officeDocument/2006/relationships/tags" Target="../tags/tag477.xml"/><Relationship Id="rId32" Type="http://schemas.openxmlformats.org/officeDocument/2006/relationships/tags" Target="../tags/tag498.xml"/><Relationship Id="rId37" Type="http://schemas.openxmlformats.org/officeDocument/2006/relationships/tags" Target="../tags/tag503.xml"/><Relationship Id="rId53" Type="http://schemas.openxmlformats.org/officeDocument/2006/relationships/tags" Target="../tags/tag519.xml"/><Relationship Id="rId58" Type="http://schemas.openxmlformats.org/officeDocument/2006/relationships/tags" Target="../tags/tag524.xml"/><Relationship Id="rId74" Type="http://schemas.openxmlformats.org/officeDocument/2006/relationships/tags" Target="../tags/tag540.xml"/><Relationship Id="rId79" Type="http://schemas.openxmlformats.org/officeDocument/2006/relationships/tags" Target="../tags/tag545.xml"/><Relationship Id="rId102" Type="http://schemas.openxmlformats.org/officeDocument/2006/relationships/tags" Target="../tags/tag568.xml"/><Relationship Id="rId123" Type="http://schemas.openxmlformats.org/officeDocument/2006/relationships/tags" Target="../tags/tag589.xml"/><Relationship Id="rId128" Type="http://schemas.openxmlformats.org/officeDocument/2006/relationships/tags" Target="../tags/tag594.xml"/><Relationship Id="rId5" Type="http://schemas.openxmlformats.org/officeDocument/2006/relationships/tags" Target="../tags/tag471.xml"/><Relationship Id="rId90" Type="http://schemas.openxmlformats.org/officeDocument/2006/relationships/tags" Target="../tags/tag556.xml"/><Relationship Id="rId95" Type="http://schemas.openxmlformats.org/officeDocument/2006/relationships/tags" Target="../tags/tag561.xml"/><Relationship Id="rId22" Type="http://schemas.openxmlformats.org/officeDocument/2006/relationships/tags" Target="../tags/tag488.xml"/><Relationship Id="rId27" Type="http://schemas.openxmlformats.org/officeDocument/2006/relationships/tags" Target="../tags/tag493.xml"/><Relationship Id="rId43" Type="http://schemas.openxmlformats.org/officeDocument/2006/relationships/tags" Target="../tags/tag509.xml"/><Relationship Id="rId48" Type="http://schemas.openxmlformats.org/officeDocument/2006/relationships/tags" Target="../tags/tag514.xml"/><Relationship Id="rId64" Type="http://schemas.openxmlformats.org/officeDocument/2006/relationships/tags" Target="../tags/tag530.xml"/><Relationship Id="rId69" Type="http://schemas.openxmlformats.org/officeDocument/2006/relationships/tags" Target="../tags/tag535.xml"/><Relationship Id="rId113" Type="http://schemas.openxmlformats.org/officeDocument/2006/relationships/tags" Target="../tags/tag579.xml"/><Relationship Id="rId118" Type="http://schemas.openxmlformats.org/officeDocument/2006/relationships/tags" Target="../tags/tag584.xml"/><Relationship Id="rId134" Type="http://schemas.openxmlformats.org/officeDocument/2006/relationships/oleObject" Target="../embeddings/oleObject43.bin"/><Relationship Id="rId80" Type="http://schemas.openxmlformats.org/officeDocument/2006/relationships/tags" Target="../tags/tag546.xml"/><Relationship Id="rId85" Type="http://schemas.openxmlformats.org/officeDocument/2006/relationships/tags" Target="../tags/tag551.xml"/><Relationship Id="rId12" Type="http://schemas.openxmlformats.org/officeDocument/2006/relationships/tags" Target="../tags/tag478.xml"/><Relationship Id="rId17" Type="http://schemas.openxmlformats.org/officeDocument/2006/relationships/tags" Target="../tags/tag483.xml"/><Relationship Id="rId33" Type="http://schemas.openxmlformats.org/officeDocument/2006/relationships/tags" Target="../tags/tag499.xml"/><Relationship Id="rId38" Type="http://schemas.openxmlformats.org/officeDocument/2006/relationships/tags" Target="../tags/tag504.xml"/><Relationship Id="rId59" Type="http://schemas.openxmlformats.org/officeDocument/2006/relationships/tags" Target="../tags/tag525.xml"/><Relationship Id="rId103" Type="http://schemas.openxmlformats.org/officeDocument/2006/relationships/tags" Target="../tags/tag569.xml"/><Relationship Id="rId108" Type="http://schemas.openxmlformats.org/officeDocument/2006/relationships/tags" Target="../tags/tag574.xml"/><Relationship Id="rId124" Type="http://schemas.openxmlformats.org/officeDocument/2006/relationships/tags" Target="../tags/tag590.xml"/><Relationship Id="rId129" Type="http://schemas.openxmlformats.org/officeDocument/2006/relationships/tags" Target="../tags/tag595.xml"/><Relationship Id="rId54" Type="http://schemas.openxmlformats.org/officeDocument/2006/relationships/tags" Target="../tags/tag520.xml"/><Relationship Id="rId70" Type="http://schemas.openxmlformats.org/officeDocument/2006/relationships/tags" Target="../tags/tag536.xml"/><Relationship Id="rId75" Type="http://schemas.openxmlformats.org/officeDocument/2006/relationships/tags" Target="../tags/tag541.xml"/><Relationship Id="rId91" Type="http://schemas.openxmlformats.org/officeDocument/2006/relationships/tags" Target="../tags/tag557.xml"/><Relationship Id="rId96" Type="http://schemas.openxmlformats.org/officeDocument/2006/relationships/tags" Target="../tags/tag562.xml"/><Relationship Id="rId1" Type="http://schemas.openxmlformats.org/officeDocument/2006/relationships/tags" Target="../tags/tag467.xml"/><Relationship Id="rId6" Type="http://schemas.openxmlformats.org/officeDocument/2006/relationships/tags" Target="../tags/tag472.xml"/><Relationship Id="rId23" Type="http://schemas.openxmlformats.org/officeDocument/2006/relationships/tags" Target="../tags/tag489.xml"/><Relationship Id="rId28" Type="http://schemas.openxmlformats.org/officeDocument/2006/relationships/tags" Target="../tags/tag494.xml"/><Relationship Id="rId49" Type="http://schemas.openxmlformats.org/officeDocument/2006/relationships/tags" Target="../tags/tag515.xml"/><Relationship Id="rId114" Type="http://schemas.openxmlformats.org/officeDocument/2006/relationships/tags" Target="../tags/tag580.xml"/><Relationship Id="rId119" Type="http://schemas.openxmlformats.org/officeDocument/2006/relationships/tags" Target="../tags/tag585.xml"/><Relationship Id="rId44" Type="http://schemas.openxmlformats.org/officeDocument/2006/relationships/tags" Target="../tags/tag510.xml"/><Relationship Id="rId60" Type="http://schemas.openxmlformats.org/officeDocument/2006/relationships/tags" Target="../tags/tag526.xml"/><Relationship Id="rId65" Type="http://schemas.openxmlformats.org/officeDocument/2006/relationships/tags" Target="../tags/tag531.xml"/><Relationship Id="rId81" Type="http://schemas.openxmlformats.org/officeDocument/2006/relationships/tags" Target="../tags/tag547.xml"/><Relationship Id="rId86" Type="http://schemas.openxmlformats.org/officeDocument/2006/relationships/tags" Target="../tags/tag552.xml"/><Relationship Id="rId130" Type="http://schemas.openxmlformats.org/officeDocument/2006/relationships/tags" Target="../tags/tag596.xml"/><Relationship Id="rId135" Type="http://schemas.openxmlformats.org/officeDocument/2006/relationships/image" Target="../media/image10.emf"/><Relationship Id="rId13" Type="http://schemas.openxmlformats.org/officeDocument/2006/relationships/tags" Target="../tags/tag479.xml"/><Relationship Id="rId18" Type="http://schemas.openxmlformats.org/officeDocument/2006/relationships/tags" Target="../tags/tag484.xml"/><Relationship Id="rId39" Type="http://schemas.openxmlformats.org/officeDocument/2006/relationships/tags" Target="../tags/tag505.xml"/><Relationship Id="rId109" Type="http://schemas.openxmlformats.org/officeDocument/2006/relationships/tags" Target="../tags/tag575.xml"/><Relationship Id="rId34" Type="http://schemas.openxmlformats.org/officeDocument/2006/relationships/tags" Target="../tags/tag500.xml"/><Relationship Id="rId50" Type="http://schemas.openxmlformats.org/officeDocument/2006/relationships/tags" Target="../tags/tag516.xml"/><Relationship Id="rId55" Type="http://schemas.openxmlformats.org/officeDocument/2006/relationships/tags" Target="../tags/tag521.xml"/><Relationship Id="rId76" Type="http://schemas.openxmlformats.org/officeDocument/2006/relationships/tags" Target="../tags/tag542.xml"/><Relationship Id="rId97" Type="http://schemas.openxmlformats.org/officeDocument/2006/relationships/tags" Target="../tags/tag563.xml"/><Relationship Id="rId104" Type="http://schemas.openxmlformats.org/officeDocument/2006/relationships/tags" Target="../tags/tag570.xml"/><Relationship Id="rId120" Type="http://schemas.openxmlformats.org/officeDocument/2006/relationships/tags" Target="../tags/tag586.xml"/><Relationship Id="rId125" Type="http://schemas.openxmlformats.org/officeDocument/2006/relationships/tags" Target="../tags/tag591.xml"/><Relationship Id="rId7" Type="http://schemas.openxmlformats.org/officeDocument/2006/relationships/tags" Target="../tags/tag473.xml"/><Relationship Id="rId71" Type="http://schemas.openxmlformats.org/officeDocument/2006/relationships/tags" Target="../tags/tag537.xml"/><Relationship Id="rId92" Type="http://schemas.openxmlformats.org/officeDocument/2006/relationships/tags" Target="../tags/tag558.xml"/><Relationship Id="rId2" Type="http://schemas.openxmlformats.org/officeDocument/2006/relationships/tags" Target="../tags/tag468.xml"/><Relationship Id="rId29" Type="http://schemas.openxmlformats.org/officeDocument/2006/relationships/tags" Target="../tags/tag495.xml"/><Relationship Id="rId24" Type="http://schemas.openxmlformats.org/officeDocument/2006/relationships/tags" Target="../tags/tag490.xml"/><Relationship Id="rId40" Type="http://schemas.openxmlformats.org/officeDocument/2006/relationships/tags" Target="../tags/tag506.xml"/><Relationship Id="rId45" Type="http://schemas.openxmlformats.org/officeDocument/2006/relationships/tags" Target="../tags/tag511.xml"/><Relationship Id="rId66" Type="http://schemas.openxmlformats.org/officeDocument/2006/relationships/tags" Target="../tags/tag532.xml"/><Relationship Id="rId87" Type="http://schemas.openxmlformats.org/officeDocument/2006/relationships/tags" Target="../tags/tag553.xml"/><Relationship Id="rId110" Type="http://schemas.openxmlformats.org/officeDocument/2006/relationships/tags" Target="../tags/tag576.xml"/><Relationship Id="rId115" Type="http://schemas.openxmlformats.org/officeDocument/2006/relationships/tags" Target="../tags/tag581.xml"/><Relationship Id="rId131" Type="http://schemas.openxmlformats.org/officeDocument/2006/relationships/tags" Target="../tags/tag597.xml"/><Relationship Id="rId61" Type="http://schemas.openxmlformats.org/officeDocument/2006/relationships/tags" Target="../tags/tag527.xml"/><Relationship Id="rId82" Type="http://schemas.openxmlformats.org/officeDocument/2006/relationships/tags" Target="../tags/tag548.xml"/><Relationship Id="rId19" Type="http://schemas.openxmlformats.org/officeDocument/2006/relationships/tags" Target="../tags/tag485.xml"/><Relationship Id="rId14" Type="http://schemas.openxmlformats.org/officeDocument/2006/relationships/tags" Target="../tags/tag480.xml"/><Relationship Id="rId30" Type="http://schemas.openxmlformats.org/officeDocument/2006/relationships/tags" Target="../tags/tag496.xml"/><Relationship Id="rId35" Type="http://schemas.openxmlformats.org/officeDocument/2006/relationships/tags" Target="../tags/tag501.xml"/><Relationship Id="rId56" Type="http://schemas.openxmlformats.org/officeDocument/2006/relationships/tags" Target="../tags/tag522.xml"/><Relationship Id="rId77" Type="http://schemas.openxmlformats.org/officeDocument/2006/relationships/tags" Target="../tags/tag543.xml"/><Relationship Id="rId100" Type="http://schemas.openxmlformats.org/officeDocument/2006/relationships/tags" Target="../tags/tag566.xml"/><Relationship Id="rId105" Type="http://schemas.openxmlformats.org/officeDocument/2006/relationships/tags" Target="../tags/tag571.xml"/><Relationship Id="rId126" Type="http://schemas.openxmlformats.org/officeDocument/2006/relationships/tags" Target="../tags/tag592.xml"/><Relationship Id="rId8" Type="http://schemas.openxmlformats.org/officeDocument/2006/relationships/tags" Target="../tags/tag474.xml"/><Relationship Id="rId51" Type="http://schemas.openxmlformats.org/officeDocument/2006/relationships/tags" Target="../tags/tag517.xml"/><Relationship Id="rId72" Type="http://schemas.openxmlformats.org/officeDocument/2006/relationships/tags" Target="../tags/tag538.xml"/><Relationship Id="rId93" Type="http://schemas.openxmlformats.org/officeDocument/2006/relationships/tags" Target="../tags/tag559.xml"/><Relationship Id="rId98" Type="http://schemas.openxmlformats.org/officeDocument/2006/relationships/tags" Target="../tags/tag564.xml"/><Relationship Id="rId121" Type="http://schemas.openxmlformats.org/officeDocument/2006/relationships/tags" Target="../tags/tag587.xml"/><Relationship Id="rId3" Type="http://schemas.openxmlformats.org/officeDocument/2006/relationships/tags" Target="../tags/tag469.xml"/><Relationship Id="rId25" Type="http://schemas.openxmlformats.org/officeDocument/2006/relationships/tags" Target="../tags/tag491.xml"/><Relationship Id="rId46" Type="http://schemas.openxmlformats.org/officeDocument/2006/relationships/tags" Target="../tags/tag512.xml"/><Relationship Id="rId67" Type="http://schemas.openxmlformats.org/officeDocument/2006/relationships/tags" Target="../tags/tag533.xml"/><Relationship Id="rId116" Type="http://schemas.openxmlformats.org/officeDocument/2006/relationships/tags" Target="../tags/tag582.xml"/><Relationship Id="rId20" Type="http://schemas.openxmlformats.org/officeDocument/2006/relationships/tags" Target="../tags/tag486.xml"/><Relationship Id="rId41" Type="http://schemas.openxmlformats.org/officeDocument/2006/relationships/tags" Target="../tags/tag507.xml"/><Relationship Id="rId62" Type="http://schemas.openxmlformats.org/officeDocument/2006/relationships/tags" Target="../tags/tag528.xml"/><Relationship Id="rId83" Type="http://schemas.openxmlformats.org/officeDocument/2006/relationships/tags" Target="../tags/tag549.xml"/><Relationship Id="rId88" Type="http://schemas.openxmlformats.org/officeDocument/2006/relationships/tags" Target="../tags/tag554.xml"/><Relationship Id="rId111" Type="http://schemas.openxmlformats.org/officeDocument/2006/relationships/tags" Target="../tags/tag577.xml"/><Relationship Id="rId132" Type="http://schemas.openxmlformats.org/officeDocument/2006/relationships/tags" Target="../tags/tag598.xml"/><Relationship Id="rId15" Type="http://schemas.openxmlformats.org/officeDocument/2006/relationships/tags" Target="../tags/tag481.xml"/><Relationship Id="rId36" Type="http://schemas.openxmlformats.org/officeDocument/2006/relationships/tags" Target="../tags/tag502.xml"/><Relationship Id="rId57" Type="http://schemas.openxmlformats.org/officeDocument/2006/relationships/tags" Target="../tags/tag523.xml"/><Relationship Id="rId106" Type="http://schemas.openxmlformats.org/officeDocument/2006/relationships/tags" Target="../tags/tag572.xml"/><Relationship Id="rId127" Type="http://schemas.openxmlformats.org/officeDocument/2006/relationships/tags" Target="../tags/tag593.xml"/><Relationship Id="rId10" Type="http://schemas.openxmlformats.org/officeDocument/2006/relationships/tags" Target="../tags/tag476.xml"/><Relationship Id="rId31" Type="http://schemas.openxmlformats.org/officeDocument/2006/relationships/tags" Target="../tags/tag497.xml"/><Relationship Id="rId52" Type="http://schemas.openxmlformats.org/officeDocument/2006/relationships/tags" Target="../tags/tag518.xml"/><Relationship Id="rId73" Type="http://schemas.openxmlformats.org/officeDocument/2006/relationships/tags" Target="../tags/tag539.xml"/><Relationship Id="rId78" Type="http://schemas.openxmlformats.org/officeDocument/2006/relationships/tags" Target="../tags/tag544.xml"/><Relationship Id="rId94" Type="http://schemas.openxmlformats.org/officeDocument/2006/relationships/tags" Target="../tags/tag560.xml"/><Relationship Id="rId99" Type="http://schemas.openxmlformats.org/officeDocument/2006/relationships/tags" Target="../tags/tag565.xml"/><Relationship Id="rId101" Type="http://schemas.openxmlformats.org/officeDocument/2006/relationships/tags" Target="../tags/tag567.xml"/><Relationship Id="rId122" Type="http://schemas.openxmlformats.org/officeDocument/2006/relationships/tags" Target="../tags/tag588.xml"/><Relationship Id="rId4" Type="http://schemas.openxmlformats.org/officeDocument/2006/relationships/tags" Target="../tags/tag470.xml"/><Relationship Id="rId9" Type="http://schemas.openxmlformats.org/officeDocument/2006/relationships/tags" Target="../tags/tag475.xml"/><Relationship Id="rId26" Type="http://schemas.openxmlformats.org/officeDocument/2006/relationships/tags" Target="../tags/tag492.xml"/><Relationship Id="rId47" Type="http://schemas.openxmlformats.org/officeDocument/2006/relationships/tags" Target="../tags/tag513.xml"/><Relationship Id="rId68" Type="http://schemas.openxmlformats.org/officeDocument/2006/relationships/tags" Target="../tags/tag534.xml"/><Relationship Id="rId89" Type="http://schemas.openxmlformats.org/officeDocument/2006/relationships/tags" Target="../tags/tag555.xml"/><Relationship Id="rId112" Type="http://schemas.openxmlformats.org/officeDocument/2006/relationships/tags" Target="../tags/tag578.xml"/><Relationship Id="rId133"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2581218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72" imgH="588" progId="TCLayout.ActiveDocument.1">
                  <p:embed/>
                </p:oleObj>
              </mc:Choice>
              <mc:Fallback>
                <p:oleObj name="think-cell Slide" r:id="rId8" imgW="572" imgH="588" progId="TCLayout.ActiveDocument.1">
                  <p:embed/>
                  <p:pic>
                    <p:nvPicPr>
                      <p:cNvPr id="3" name="Object 8" hidden="1">
                        <a:extLst>
                          <a:ext uri="{FF2B5EF4-FFF2-40B4-BE49-F238E27FC236}">
                            <a16:creationId xmlns:a16="http://schemas.microsoft.com/office/drawing/2014/main" id="{DFC82A3A-0A2D-4C91-9164-E53833C359F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Background"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4400" b="1" i="0" u="none" strike="noStrike" kern="1200" cap="none" spc="0" normalizeH="0" baseline="0" noProof="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4" name="Title">
            <a:extLst>
              <a:ext uri="{FF2B5EF4-FFF2-40B4-BE49-F238E27FC236}">
                <a16:creationId xmlns:a16="http://schemas.microsoft.com/office/drawing/2014/main" id="{FA5D4630-F7DD-45DE-8B28-13C4C3DDAD21}"/>
              </a:ext>
            </a:extLst>
          </p:cNvPr>
          <p:cNvSpPr>
            <a:spLocks noGrp="1"/>
          </p:cNvSpPr>
          <p:nvPr>
            <p:ph type="title" idx="4294967295"/>
            <p:custDataLst>
              <p:tags r:id="rId4"/>
            </p:custDataLst>
          </p:nvPr>
        </p:nvSpPr>
        <p:spPr>
          <a:xfrm>
            <a:off x="5229547" y="2467769"/>
            <a:ext cx="5803900" cy="1922462"/>
          </a:xfrm>
          <a:prstGeom prst="rect">
            <a:avLst/>
          </a:prstGeom>
        </p:spPr>
        <p:txBody>
          <a:bodyPr vert="horz">
            <a:normAutofit fontScale="90000"/>
          </a:bodyPr>
          <a:lstStyle/>
          <a:p>
            <a:r>
              <a:rPr lang="en-US" sz="3200" b="1"/>
              <a:t>Large Load Batch Study Workshop</a:t>
            </a:r>
            <a:br>
              <a:rPr lang="en-US" sz="3200" b="1"/>
            </a:br>
            <a:br>
              <a:rPr lang="en-US" sz="3200" b="1"/>
            </a:br>
            <a:r>
              <a:rPr lang="en-US" sz="2800"/>
              <a:t>Stakeholder Feedback Summary</a:t>
            </a:r>
            <a:br>
              <a:rPr lang="en-US" sz="2800"/>
            </a:br>
            <a:r>
              <a:rPr lang="en-US" sz="2000"/>
              <a:t>ERCOT and McKinsey</a:t>
            </a:r>
            <a:endParaRPr lang="en-US" sz="3200"/>
          </a:p>
        </p:txBody>
      </p:sp>
      <p:sp>
        <p:nvSpPr>
          <p:cNvPr id="14" name="Documenttype">
            <a:extLst>
              <a:ext uri="{FF2B5EF4-FFF2-40B4-BE49-F238E27FC236}">
                <a16:creationId xmlns:a16="http://schemas.microsoft.com/office/drawing/2014/main" id="{7835DA42-CBF3-4299-9CD7-2662B8C52E8E}"/>
              </a:ext>
            </a:extLst>
          </p:cNvPr>
          <p:cNvSpPr>
            <a:spLocks noGrp="1"/>
          </p:cNvSpPr>
          <p:nvPr>
            <p:ph type="body" sz="quarter" idx="4294967295"/>
            <p:custDataLst>
              <p:tags r:id="rId5"/>
            </p:custDataLst>
          </p:nvPr>
        </p:nvSpPr>
        <p:spPr>
          <a:xfrm>
            <a:off x="5232972" y="4851133"/>
            <a:ext cx="6018213" cy="376910"/>
          </a:xfrm>
          <a:prstGeom prst="rect">
            <a:avLst/>
          </a:prstGeom>
        </p:spPr>
        <p:txBody>
          <a:bodyPr/>
          <a:lstStyle/>
          <a:p>
            <a:pPr marL="0" indent="0">
              <a:buNone/>
            </a:pPr>
            <a:r>
              <a:rPr lang="en-US" sz="2000"/>
              <a:t>February 3</a:t>
            </a:r>
            <a:r>
              <a:rPr lang="en-US" sz="2000" baseline="30000"/>
              <a:t>rd</a:t>
            </a:r>
            <a:r>
              <a:rPr lang="en-US" sz="2000"/>
              <a:t>, 2026</a:t>
            </a:r>
          </a:p>
        </p:txBody>
      </p:sp>
    </p:spTree>
    <p:custDataLst>
      <p:tags r:id="rId1"/>
    </p:custDataLst>
    <p:extLst>
      <p:ext uri="{BB962C8B-B14F-4D97-AF65-F5344CB8AC3E}">
        <p14:creationId xmlns:p14="http://schemas.microsoft.com/office/powerpoint/2010/main" val="24178560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2" hidden="1">
            <a:extLst>
              <a:ext uri="{FF2B5EF4-FFF2-40B4-BE49-F238E27FC236}">
                <a16:creationId xmlns:a16="http://schemas.microsoft.com/office/drawing/2014/main" id="{EF22203A-44A6-96B2-3BBD-79C351E64713}"/>
              </a:ext>
            </a:extLst>
          </p:cNvPr>
          <p:cNvGraphicFramePr>
            <a:graphicFrameLocks noChangeAspect="1"/>
          </p:cNvGraphicFramePr>
          <p:nvPr>
            <p:custDataLst>
              <p:tags r:id="rId1"/>
            </p:custDataLst>
            <p:extLst>
              <p:ext uri="{D42A27DB-BD31-4B8C-83A1-F6EECF244321}">
                <p14:modId xmlns:p14="http://schemas.microsoft.com/office/powerpoint/2010/main" val="367599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3" progId="TCLayout.ActiveDocument.1">
                  <p:embed/>
                </p:oleObj>
              </mc:Choice>
              <mc:Fallback>
                <p:oleObj name="think-cell Slide" r:id="rId7" imgW="404" imgH="403" progId="TCLayout.ActiveDocument.1">
                  <p:embed/>
                  <p:pic>
                    <p:nvPicPr>
                      <p:cNvPr id="8" name="Object 2" hidden="1">
                        <a:extLst>
                          <a:ext uri="{FF2B5EF4-FFF2-40B4-BE49-F238E27FC236}">
                            <a16:creationId xmlns:a16="http://schemas.microsoft.com/office/drawing/2014/main" id="{EF22203A-44A6-96B2-3BBD-79C351E6471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2. Slide Title">
            <a:extLst>
              <a:ext uri="{FF2B5EF4-FFF2-40B4-BE49-F238E27FC236}">
                <a16:creationId xmlns:a16="http://schemas.microsoft.com/office/drawing/2014/main" id="{68DBA945-F3BF-BAC7-F72F-A27DB3FDB884}"/>
              </a:ext>
            </a:extLst>
          </p:cNvPr>
          <p:cNvSpPr>
            <a:spLocks noGrp="1"/>
          </p:cNvSpPr>
          <p:nvPr>
            <p:ph type="title"/>
            <p:custDataLst>
              <p:tags r:id="rId2"/>
            </p:custDataLst>
          </p:nvPr>
        </p:nvSpPr>
        <p:spPr/>
        <p:txBody>
          <a:bodyPr vert="horz"/>
          <a:lstStyle/>
          <a:p>
            <a:r>
              <a:rPr lang="en-US"/>
              <a:t>Guiding principles for stakeholder feedback </a:t>
            </a:r>
            <a:endParaRPr lang="en-US">
              <a:cs typeface="Arial"/>
            </a:endParaRPr>
          </a:p>
        </p:txBody>
      </p:sp>
      <p:sp>
        <p:nvSpPr>
          <p:cNvPr id="24" name="TextBox 23">
            <a:extLst>
              <a:ext uri="{FF2B5EF4-FFF2-40B4-BE49-F238E27FC236}">
                <a16:creationId xmlns:a16="http://schemas.microsoft.com/office/drawing/2014/main" id="{9D935772-0740-169C-74D8-014CE4C482D8}"/>
              </a:ext>
            </a:extLst>
          </p:cNvPr>
          <p:cNvSpPr txBox="1">
            <a:spLocks/>
          </p:cNvSpPr>
          <p:nvPr/>
        </p:nvSpPr>
        <p:spPr>
          <a:xfrm>
            <a:off x="9143212" y="3022229"/>
            <a:ext cx="1207886" cy="677108"/>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4400" b="1">
                <a:solidFill>
                  <a:schemeClr val="accent1"/>
                </a:solidFill>
              </a:rPr>
              <a:t>10</a:t>
            </a:r>
          </a:p>
        </p:txBody>
      </p:sp>
      <p:sp>
        <p:nvSpPr>
          <p:cNvPr id="25" name="TextBox 24">
            <a:extLst>
              <a:ext uri="{FF2B5EF4-FFF2-40B4-BE49-F238E27FC236}">
                <a16:creationId xmlns:a16="http://schemas.microsoft.com/office/drawing/2014/main" id="{0F2ECF75-E9FF-DD4D-F648-58921D3155D3}"/>
              </a:ext>
            </a:extLst>
          </p:cNvPr>
          <p:cNvSpPr txBox="1">
            <a:spLocks/>
          </p:cNvSpPr>
          <p:nvPr/>
        </p:nvSpPr>
        <p:spPr>
          <a:xfrm>
            <a:off x="8223893" y="3809768"/>
            <a:ext cx="3339303" cy="492443"/>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cs typeface="Arial"/>
              </a:rPr>
              <a:t>Stakeholder categories</a:t>
            </a:r>
            <a:r>
              <a:rPr lang="en-US">
                <a:cs typeface="Arial"/>
              </a:rPr>
              <a:t> providing </a:t>
            </a:r>
            <a:br>
              <a:rPr lang="en-US">
                <a:cs typeface="Arial"/>
              </a:rPr>
            </a:br>
            <a:r>
              <a:rPr lang="en-US">
                <a:cs typeface="Arial"/>
              </a:rPr>
              <a:t>a broad range of perspectives</a:t>
            </a:r>
          </a:p>
        </p:txBody>
      </p:sp>
      <p:grpSp>
        <p:nvGrpSpPr>
          <p:cNvPr id="61" name="Group 60">
            <a:extLst>
              <a:ext uri="{FF2B5EF4-FFF2-40B4-BE49-F238E27FC236}">
                <a16:creationId xmlns:a16="http://schemas.microsoft.com/office/drawing/2014/main" id="{A29D73E2-4BB8-4E67-8C22-BB200B52632A}"/>
              </a:ext>
            </a:extLst>
          </p:cNvPr>
          <p:cNvGrpSpPr/>
          <p:nvPr/>
        </p:nvGrpSpPr>
        <p:grpSpPr>
          <a:xfrm>
            <a:off x="8223893" y="4661073"/>
            <a:ext cx="3460107" cy="1316619"/>
            <a:chOff x="8223893" y="4548381"/>
            <a:chExt cx="3460107" cy="1316619"/>
          </a:xfrm>
        </p:grpSpPr>
        <p:sp>
          <p:nvSpPr>
            <p:cNvPr id="30" name="TextBox 29">
              <a:extLst>
                <a:ext uri="{FF2B5EF4-FFF2-40B4-BE49-F238E27FC236}">
                  <a16:creationId xmlns:a16="http://schemas.microsoft.com/office/drawing/2014/main" id="{FFB094B8-52B9-0DF0-2BFC-94FC34130DA2}"/>
                </a:ext>
              </a:extLst>
            </p:cNvPr>
            <p:cNvSpPr txBox="1">
              <a:spLocks/>
            </p:cNvSpPr>
            <p:nvPr/>
          </p:nvSpPr>
          <p:spPr>
            <a:xfrm>
              <a:off x="9143212" y="4575587"/>
              <a:ext cx="1207886" cy="67710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4000" b="1">
                  <a:solidFill>
                    <a:schemeClr val="accent1"/>
                  </a:solidFill>
                </a:rPr>
                <a:t>250+</a:t>
              </a:r>
            </a:p>
          </p:txBody>
        </p:sp>
        <p:sp>
          <p:nvSpPr>
            <p:cNvPr id="31" name="TextBox 30">
              <a:extLst>
                <a:ext uri="{FF2B5EF4-FFF2-40B4-BE49-F238E27FC236}">
                  <a16:creationId xmlns:a16="http://schemas.microsoft.com/office/drawing/2014/main" id="{AAC0508F-C945-D357-6AAE-C11E3A703133}"/>
                </a:ext>
              </a:extLst>
            </p:cNvPr>
            <p:cNvSpPr txBox="1">
              <a:spLocks/>
            </p:cNvSpPr>
            <p:nvPr/>
          </p:nvSpPr>
          <p:spPr>
            <a:xfrm>
              <a:off x="8223893" y="5372557"/>
              <a:ext cx="3460107" cy="492443"/>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Individual stakeholders that have attended interviews</a:t>
              </a:r>
              <a:endParaRPr lang="en-US"/>
            </a:p>
          </p:txBody>
        </p:sp>
        <p:pic>
          <p:nvPicPr>
            <p:cNvPr id="32" name="CustomIcon">
              <a:extLst>
                <a:ext uri="{FF2B5EF4-FFF2-40B4-BE49-F238E27FC236}">
                  <a16:creationId xmlns:a16="http://schemas.microsoft.com/office/drawing/2014/main" id="{77F158F2-C330-A4CA-012F-402EDEB88162}"/>
                </a:ext>
              </a:extLst>
            </p:cNvPr>
            <p:cNvPicPr>
              <a:picLocks/>
            </p:cNvPicPr>
            <p:nvPr>
              <p:custDataLst>
                <p:tags r:id="rId5"/>
              </p:custDataLst>
            </p:nvPr>
          </p:nvPicPr>
          <p:blipFill>
            <a:blip r:embed="rId9">
              <a:extLst>
                <a:ext uri="{96DAC541-7B7A-43D3-8B79-37D633B846F1}">
                  <asvg:svgBlip xmlns:asvg="http://schemas.microsoft.com/office/drawing/2016/SVG/main" r:embed="rId10"/>
                </a:ext>
              </a:extLst>
            </a:blip>
            <a:stretch>
              <a:fillRect/>
            </a:stretch>
          </p:blipFill>
          <p:spPr>
            <a:xfrm>
              <a:off x="8223893" y="4548381"/>
              <a:ext cx="731520" cy="731520"/>
            </a:xfrm>
            <a:prstGeom prst="rect">
              <a:avLst/>
            </a:prstGeom>
          </p:spPr>
        </p:pic>
      </p:grpSp>
      <p:grpSp>
        <p:nvGrpSpPr>
          <p:cNvPr id="2" name="Group 1">
            <a:extLst>
              <a:ext uri="{FF2B5EF4-FFF2-40B4-BE49-F238E27FC236}">
                <a16:creationId xmlns:a16="http://schemas.microsoft.com/office/drawing/2014/main" id="{C199C05A-189B-628D-BF63-BA48F5274E26}"/>
              </a:ext>
            </a:extLst>
          </p:cNvPr>
          <p:cNvGrpSpPr/>
          <p:nvPr/>
        </p:nvGrpSpPr>
        <p:grpSpPr>
          <a:xfrm>
            <a:off x="8223893" y="1314949"/>
            <a:ext cx="3460107" cy="1316562"/>
            <a:chOff x="8223893" y="1314949"/>
            <a:chExt cx="3460107" cy="1316562"/>
          </a:xfrm>
        </p:grpSpPr>
        <p:sp>
          <p:nvSpPr>
            <p:cNvPr id="33" name="TextBox 32">
              <a:extLst>
                <a:ext uri="{FF2B5EF4-FFF2-40B4-BE49-F238E27FC236}">
                  <a16:creationId xmlns:a16="http://schemas.microsoft.com/office/drawing/2014/main" id="{284EE25F-2835-781F-1A4F-F61293194BD9}"/>
                </a:ext>
              </a:extLst>
            </p:cNvPr>
            <p:cNvSpPr txBox="1">
              <a:spLocks/>
            </p:cNvSpPr>
            <p:nvPr/>
          </p:nvSpPr>
          <p:spPr>
            <a:xfrm>
              <a:off x="9143212" y="1342155"/>
              <a:ext cx="1207886" cy="67710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4400" b="1">
                  <a:solidFill>
                    <a:schemeClr val="accent1"/>
                  </a:solidFill>
                </a:rPr>
                <a:t>60</a:t>
              </a:r>
            </a:p>
          </p:txBody>
        </p:sp>
        <p:sp>
          <p:nvSpPr>
            <p:cNvPr id="34" name="TextBox 33">
              <a:extLst>
                <a:ext uri="{FF2B5EF4-FFF2-40B4-BE49-F238E27FC236}">
                  <a16:creationId xmlns:a16="http://schemas.microsoft.com/office/drawing/2014/main" id="{8443587A-496B-53BC-B0DA-E479402DE4AB}"/>
                </a:ext>
              </a:extLst>
            </p:cNvPr>
            <p:cNvSpPr txBox="1">
              <a:spLocks/>
            </p:cNvSpPr>
            <p:nvPr/>
          </p:nvSpPr>
          <p:spPr>
            <a:xfrm>
              <a:off x="8223893" y="2139068"/>
              <a:ext cx="3460107" cy="492443"/>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Stakeholder interviews completed </a:t>
              </a:r>
              <a:r>
                <a:rPr lang="en-US"/>
                <a:t>in 3 weeks</a:t>
              </a:r>
            </a:p>
          </p:txBody>
        </p:sp>
        <p:pic>
          <p:nvPicPr>
            <p:cNvPr id="36" name="CustomIcon">
              <a:extLst>
                <a:ext uri="{FF2B5EF4-FFF2-40B4-BE49-F238E27FC236}">
                  <a16:creationId xmlns:a16="http://schemas.microsoft.com/office/drawing/2014/main" id="{73C2C96B-7E93-5998-7953-A88A95169126}"/>
                </a:ext>
              </a:extLst>
            </p:cNvPr>
            <p:cNvPicPr>
              <a:picLocks/>
            </p:cNvPicPr>
            <p:nvPr>
              <p:custDataLst>
                <p:tags r:id="rId4"/>
              </p:custDataLst>
            </p:nvPr>
          </p:nvPicPr>
          <p:blipFill>
            <a:blip r:embed="rId11">
              <a:extLst>
                <a:ext uri="{96DAC541-7B7A-43D3-8B79-37D633B846F1}">
                  <asvg:svgBlip xmlns:asvg="http://schemas.microsoft.com/office/drawing/2016/SVG/main" r:embed="rId12"/>
                </a:ext>
              </a:extLst>
            </a:blip>
            <a:stretch>
              <a:fillRect/>
            </a:stretch>
          </p:blipFill>
          <p:spPr>
            <a:xfrm>
              <a:off x="8223893" y="1314949"/>
              <a:ext cx="731520" cy="731520"/>
            </a:xfrm>
            <a:prstGeom prst="rect">
              <a:avLst/>
            </a:prstGeom>
          </p:spPr>
        </p:pic>
      </p:grpSp>
      <p:sp>
        <p:nvSpPr>
          <p:cNvPr id="27" name="TextBox 26">
            <a:extLst>
              <a:ext uri="{FF2B5EF4-FFF2-40B4-BE49-F238E27FC236}">
                <a16:creationId xmlns:a16="http://schemas.microsoft.com/office/drawing/2014/main" id="{405E73A1-FFCB-A851-8BBF-D90DCA3FA142}"/>
              </a:ext>
            </a:extLst>
          </p:cNvPr>
          <p:cNvSpPr txBox="1"/>
          <p:nvPr/>
        </p:nvSpPr>
        <p:spPr>
          <a:xfrm>
            <a:off x="554736" y="1790753"/>
            <a:ext cx="6967728" cy="492443"/>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Feedback synthesized across stakeholder categories to identify recurring themes</a:t>
            </a:r>
            <a:r>
              <a:rPr lang="en-US"/>
              <a:t>, rather than reflecting the position of any single participant</a:t>
            </a:r>
          </a:p>
        </p:txBody>
      </p:sp>
      <p:sp>
        <p:nvSpPr>
          <p:cNvPr id="28" name="TextBox 27">
            <a:extLst>
              <a:ext uri="{FF2B5EF4-FFF2-40B4-BE49-F238E27FC236}">
                <a16:creationId xmlns:a16="http://schemas.microsoft.com/office/drawing/2014/main" id="{F208A767-4693-0257-E271-4DD0F4B447B9}"/>
              </a:ext>
            </a:extLst>
          </p:cNvPr>
          <p:cNvSpPr txBox="1"/>
          <p:nvPr/>
        </p:nvSpPr>
        <p:spPr>
          <a:xfrm>
            <a:off x="554736" y="3062625"/>
            <a:ext cx="6967728" cy="738664"/>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Insights reflect repeated patterns, areas of convergence, and points of tension observed across interviews</a:t>
            </a:r>
            <a:r>
              <a:rPr lang="en-US"/>
              <a:t> rather than exhaustive or word-for-word summaries of individual conversations</a:t>
            </a:r>
          </a:p>
        </p:txBody>
      </p:sp>
      <p:sp>
        <p:nvSpPr>
          <p:cNvPr id="40" name="TextBox 39">
            <a:extLst>
              <a:ext uri="{FF2B5EF4-FFF2-40B4-BE49-F238E27FC236}">
                <a16:creationId xmlns:a16="http://schemas.microsoft.com/office/drawing/2014/main" id="{2B940A3D-7C2D-8014-8ACC-2A5D9FE9E6AB}"/>
              </a:ext>
            </a:extLst>
          </p:cNvPr>
          <p:cNvSpPr txBox="1"/>
          <p:nvPr/>
        </p:nvSpPr>
        <p:spPr>
          <a:xfrm>
            <a:off x="554736" y="4580719"/>
            <a:ext cx="6967728" cy="738664"/>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Stakeholder input was used to inform the process redesign</a:t>
            </a:r>
            <a:r>
              <a:rPr lang="en-US"/>
              <a:t>, with the objective of addressing recurring pain points and improving outcomes across stakeholder groups</a:t>
            </a:r>
          </a:p>
        </p:txBody>
      </p:sp>
      <p:pic>
        <p:nvPicPr>
          <p:cNvPr id="4" name="CustomIcon">
            <a:extLst>
              <a:ext uri="{FF2B5EF4-FFF2-40B4-BE49-F238E27FC236}">
                <a16:creationId xmlns:a16="http://schemas.microsoft.com/office/drawing/2014/main" id="{77AF0498-67CC-3F71-AB45-D8C4AE0B2EA2}"/>
              </a:ext>
            </a:extLst>
          </p:cNvPr>
          <p:cNvPicPr>
            <a:picLocks noChangeAspect="1"/>
          </p:cNvPicPr>
          <p:nvPr>
            <p:custDataLst>
              <p:tags r:id="rId3"/>
            </p:custDataLst>
          </p:nvPr>
        </p:nvPicPr>
        <p:blipFill>
          <a:blip r:embed="rId13">
            <a:extLst>
              <a:ext uri="{96DAC541-7B7A-43D3-8B79-37D633B846F1}">
                <asvg:svgBlip xmlns:asvg="http://schemas.microsoft.com/office/drawing/2016/SVG/main" r:embed="rId14"/>
              </a:ext>
            </a:extLst>
          </a:blip>
          <a:stretch>
            <a:fillRect/>
          </a:stretch>
        </p:blipFill>
        <p:spPr>
          <a:xfrm>
            <a:off x="8223893" y="2898818"/>
            <a:ext cx="731519" cy="731519"/>
          </a:xfrm>
          <a:prstGeom prst="rect">
            <a:avLst/>
          </a:prstGeom>
        </p:spPr>
      </p:pic>
    </p:spTree>
    <p:extLst>
      <p:ext uri="{BB962C8B-B14F-4D97-AF65-F5344CB8AC3E}">
        <p14:creationId xmlns:p14="http://schemas.microsoft.com/office/powerpoint/2010/main" val="13496775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C819A7-E4A6-6A2A-657D-0800AA8B996D}"/>
            </a:ext>
          </a:extLst>
        </p:cNvPr>
        <p:cNvGrpSpPr/>
        <p:nvPr/>
      </p:nvGrpSpPr>
      <p:grpSpPr>
        <a:xfrm>
          <a:off x="0" y="0"/>
          <a:ext cx="0" cy="0"/>
          <a:chOff x="0" y="0"/>
          <a:chExt cx="0" cy="0"/>
        </a:xfrm>
      </p:grpSpPr>
      <p:graphicFrame>
        <p:nvGraphicFramePr>
          <p:cNvPr id="9" name="Object 6" hidden="1">
            <a:extLst>
              <a:ext uri="{FF2B5EF4-FFF2-40B4-BE49-F238E27FC236}">
                <a16:creationId xmlns:a16="http://schemas.microsoft.com/office/drawing/2014/main" id="{D4FF048F-80A1-6DE0-2715-B669D3FD42B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404" imgH="403" progId="TCLayout.ActiveDocument.1">
                  <p:embed/>
                </p:oleObj>
              </mc:Choice>
              <mc:Fallback>
                <p:oleObj name="think-cell Slide" r:id="rId31" imgW="404" imgH="403" progId="TCLayout.ActiveDocument.1">
                  <p:embed/>
                  <p:pic>
                    <p:nvPicPr>
                      <p:cNvPr id="9" name="Object 6" hidden="1">
                        <a:extLst>
                          <a:ext uri="{FF2B5EF4-FFF2-40B4-BE49-F238E27FC236}">
                            <a16:creationId xmlns:a16="http://schemas.microsoft.com/office/drawing/2014/main" id="{D4FF048F-80A1-6DE0-2715-B669D3FD42B6}"/>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5" name="2. Slide Title">
            <a:extLst>
              <a:ext uri="{FF2B5EF4-FFF2-40B4-BE49-F238E27FC236}">
                <a16:creationId xmlns:a16="http://schemas.microsoft.com/office/drawing/2014/main" id="{D10F0007-703D-9290-9C86-FEC5113CF534}"/>
              </a:ext>
            </a:extLst>
          </p:cNvPr>
          <p:cNvSpPr>
            <a:spLocks noGrp="1"/>
          </p:cNvSpPr>
          <p:nvPr>
            <p:ph type="title"/>
            <p:custDataLst>
              <p:tags r:id="rId3"/>
            </p:custDataLst>
          </p:nvPr>
        </p:nvSpPr>
        <p:spPr>
          <a:xfrm>
            <a:off x="554736" y="326214"/>
            <a:ext cx="11082528" cy="384721"/>
          </a:xfrm>
        </p:spPr>
        <p:txBody>
          <a:bodyPr vert="horz" anchor="ctr">
            <a:spAutoFit/>
          </a:bodyPr>
          <a:lstStyle/>
          <a:p>
            <a:r>
              <a:rPr lang="en-US">
                <a:latin typeface="+mn-lt"/>
              </a:rPr>
              <a:t>Topics </a:t>
            </a:r>
            <a:r>
              <a:rPr lang="en-US" i="1" u="sng">
                <a:latin typeface="+mn-lt"/>
              </a:rPr>
              <a:t>with alignment</a:t>
            </a:r>
            <a:r>
              <a:rPr lang="en-US">
                <a:latin typeface="+mn-lt"/>
              </a:rPr>
              <a:t> from stakeholder interviews</a:t>
            </a:r>
          </a:p>
        </p:txBody>
      </p:sp>
      <p:cxnSp>
        <p:nvCxnSpPr>
          <p:cNvPr id="12" name="Straight Connector 11">
            <a:extLst>
              <a:ext uri="{FF2B5EF4-FFF2-40B4-BE49-F238E27FC236}">
                <a16:creationId xmlns:a16="http://schemas.microsoft.com/office/drawing/2014/main" id="{05039B47-9BC5-A0ED-30BD-F885612330F4}"/>
              </a:ext>
            </a:extLst>
          </p:cNvPr>
          <p:cNvCxnSpPr>
            <a:cxnSpLocks/>
          </p:cNvCxnSpPr>
          <p:nvPr/>
        </p:nvCxnSpPr>
        <p:spPr>
          <a:xfrm>
            <a:off x="547688" y="1166467"/>
            <a:ext cx="1108957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8ADA1D25-13C5-4FE8-5D20-3EA99FF6B325}"/>
              </a:ext>
            </a:extLst>
          </p:cNvPr>
          <p:cNvSpPr txBox="1">
            <a:spLocks/>
          </p:cNvSpPr>
          <p:nvPr>
            <p:custDataLst>
              <p:tags r:id="rId4"/>
            </p:custDataLst>
          </p:nvPr>
        </p:nvSpPr>
        <p:spPr>
          <a:xfrm>
            <a:off x="547688" y="926156"/>
            <a:ext cx="2263182"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Area of alignment</a:t>
            </a:r>
          </a:p>
        </p:txBody>
      </p:sp>
      <p:sp>
        <p:nvSpPr>
          <p:cNvPr id="51" name="TextBox 50">
            <a:extLst>
              <a:ext uri="{FF2B5EF4-FFF2-40B4-BE49-F238E27FC236}">
                <a16:creationId xmlns:a16="http://schemas.microsoft.com/office/drawing/2014/main" id="{2FAF164B-63D5-0A94-1A82-9C7BB51393BC}"/>
              </a:ext>
            </a:extLst>
          </p:cNvPr>
          <p:cNvSpPr txBox="1"/>
          <p:nvPr/>
        </p:nvSpPr>
        <p:spPr>
          <a:xfrm>
            <a:off x="2149749" y="6551240"/>
            <a:ext cx="4064000" cy="123111"/>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Stakeholder interviews</a:t>
            </a:r>
          </a:p>
        </p:txBody>
      </p:sp>
      <p:sp>
        <p:nvSpPr>
          <p:cNvPr id="17" name="TextBox 16">
            <a:extLst>
              <a:ext uri="{FF2B5EF4-FFF2-40B4-BE49-F238E27FC236}">
                <a16:creationId xmlns:a16="http://schemas.microsoft.com/office/drawing/2014/main" id="{36D7D810-B554-3539-85AC-BF771D96B295}"/>
              </a:ext>
            </a:extLst>
          </p:cNvPr>
          <p:cNvSpPr txBox="1">
            <a:spLocks/>
          </p:cNvSpPr>
          <p:nvPr>
            <p:custDataLst>
              <p:tags r:id="rId5"/>
            </p:custDataLst>
          </p:nvPr>
        </p:nvSpPr>
        <p:spPr>
          <a:xfrm>
            <a:off x="3942831" y="926156"/>
            <a:ext cx="7229013"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Details</a:t>
            </a:r>
          </a:p>
        </p:txBody>
      </p:sp>
      <p:cxnSp>
        <p:nvCxnSpPr>
          <p:cNvPr id="11" name="Straight Connector 10">
            <a:extLst>
              <a:ext uri="{FF2B5EF4-FFF2-40B4-BE49-F238E27FC236}">
                <a16:creationId xmlns:a16="http://schemas.microsoft.com/office/drawing/2014/main" id="{7ED0B3D5-6C05-101A-CBBC-3EAF3600DD20}"/>
              </a:ext>
            </a:extLst>
          </p:cNvPr>
          <p:cNvCxnSpPr>
            <a:cxnSpLocks/>
          </p:cNvCxnSpPr>
          <p:nvPr/>
        </p:nvCxnSpPr>
        <p:spPr>
          <a:xfrm>
            <a:off x="547688" y="1763048"/>
            <a:ext cx="11089576"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DAFC90F0-C2C5-B967-78B6-E0EF5B5728BC}"/>
              </a:ext>
            </a:extLst>
          </p:cNvPr>
          <p:cNvCxnSpPr>
            <a:cxnSpLocks/>
          </p:cNvCxnSpPr>
          <p:nvPr/>
        </p:nvCxnSpPr>
        <p:spPr>
          <a:xfrm>
            <a:off x="547688" y="2399820"/>
            <a:ext cx="11089576"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C561A12-28CC-0368-0F0D-9EF6B95BA9D5}"/>
              </a:ext>
            </a:extLst>
          </p:cNvPr>
          <p:cNvCxnSpPr>
            <a:cxnSpLocks/>
          </p:cNvCxnSpPr>
          <p:nvPr/>
        </p:nvCxnSpPr>
        <p:spPr>
          <a:xfrm>
            <a:off x="547688" y="3036592"/>
            <a:ext cx="11089576"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B0B86B0-D798-887E-F867-9365F4D8CFB5}"/>
              </a:ext>
            </a:extLst>
          </p:cNvPr>
          <p:cNvCxnSpPr>
            <a:cxnSpLocks/>
          </p:cNvCxnSpPr>
          <p:nvPr/>
        </p:nvCxnSpPr>
        <p:spPr>
          <a:xfrm>
            <a:off x="547688" y="3673364"/>
            <a:ext cx="11089576"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A15A5A1A-680E-50D5-AB67-1FDB12626F83}"/>
              </a:ext>
            </a:extLst>
          </p:cNvPr>
          <p:cNvCxnSpPr>
            <a:cxnSpLocks/>
          </p:cNvCxnSpPr>
          <p:nvPr/>
        </p:nvCxnSpPr>
        <p:spPr>
          <a:xfrm>
            <a:off x="547688" y="4310136"/>
            <a:ext cx="11089576"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7C7A6715-2ECA-157F-DBD6-4ACBF8DF8878}"/>
              </a:ext>
            </a:extLst>
          </p:cNvPr>
          <p:cNvSpPr txBox="1">
            <a:spLocks/>
          </p:cNvSpPr>
          <p:nvPr>
            <p:custDataLst>
              <p:tags r:id="rId6"/>
            </p:custDataLst>
          </p:nvPr>
        </p:nvSpPr>
        <p:spPr>
          <a:xfrm>
            <a:off x="936209" y="5080628"/>
            <a:ext cx="2547655"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Coupling between load studies and transmission planning</a:t>
            </a:r>
          </a:p>
        </p:txBody>
      </p:sp>
      <p:sp>
        <p:nvSpPr>
          <p:cNvPr id="48" name="TextBox 47">
            <a:extLst>
              <a:ext uri="{FF2B5EF4-FFF2-40B4-BE49-F238E27FC236}">
                <a16:creationId xmlns:a16="http://schemas.microsoft.com/office/drawing/2014/main" id="{87296815-F6B9-8648-4DE8-FE4A21628D97}"/>
              </a:ext>
            </a:extLst>
          </p:cNvPr>
          <p:cNvSpPr txBox="1">
            <a:spLocks/>
          </p:cNvSpPr>
          <p:nvPr>
            <p:custDataLst>
              <p:tags r:id="rId7"/>
            </p:custDataLst>
          </p:nvPr>
        </p:nvSpPr>
        <p:spPr>
          <a:xfrm>
            <a:off x="3968495" y="5080628"/>
            <a:ext cx="7668769"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pPr>
            <a:r>
              <a:rPr lang="en-US" sz="1200" b="1"/>
              <a:t>Need for load studies to directly inform RTP/RPG decisions, with clear upgrade paths and timing: </a:t>
            </a:r>
            <a:r>
              <a:rPr lang="en-US" sz="1200"/>
              <a:t>separating large-load approvals from transmission planning increases restudies and financing risk</a:t>
            </a:r>
            <a:endParaRPr lang="en-US" sz="1200" b="1"/>
          </a:p>
        </p:txBody>
      </p:sp>
      <p:sp>
        <p:nvSpPr>
          <p:cNvPr id="21" name="TrackerNumBlue 13">
            <a:extLst>
              <a:ext uri="{FF2B5EF4-FFF2-40B4-BE49-F238E27FC236}">
                <a16:creationId xmlns:a16="http://schemas.microsoft.com/office/drawing/2014/main" id="{1982230D-B2EC-6D9F-DC11-156A85E5E195}"/>
              </a:ext>
            </a:extLst>
          </p:cNvPr>
          <p:cNvSpPr/>
          <p:nvPr>
            <p:custDataLst>
              <p:tags r:id="rId8"/>
            </p:custDataLst>
          </p:nvPr>
        </p:nvSpPr>
        <p:spPr>
          <a:xfrm>
            <a:off x="547688" y="5080628"/>
            <a:ext cx="230859" cy="230859"/>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050" b="1">
                <a:solidFill>
                  <a:schemeClr val="bg1"/>
                </a:solidFill>
              </a:rPr>
              <a:t>7</a:t>
            </a:r>
          </a:p>
        </p:txBody>
      </p:sp>
      <p:sp>
        <p:nvSpPr>
          <p:cNvPr id="54" name="TextBox 53">
            <a:extLst>
              <a:ext uri="{FF2B5EF4-FFF2-40B4-BE49-F238E27FC236}">
                <a16:creationId xmlns:a16="http://schemas.microsoft.com/office/drawing/2014/main" id="{ED9FD4A0-CF12-187E-3479-08502E1685C0}"/>
              </a:ext>
            </a:extLst>
          </p:cNvPr>
          <p:cNvSpPr txBox="1">
            <a:spLocks/>
          </p:cNvSpPr>
          <p:nvPr>
            <p:custDataLst>
              <p:tags r:id="rId9"/>
            </p:custDataLst>
          </p:nvPr>
        </p:nvSpPr>
        <p:spPr>
          <a:xfrm>
            <a:off x="936209" y="3170312"/>
            <a:ext cx="2547655"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Screening and commitment to filter speculative load</a:t>
            </a:r>
          </a:p>
        </p:txBody>
      </p:sp>
      <p:sp>
        <p:nvSpPr>
          <p:cNvPr id="55" name="TextBox 54">
            <a:extLst>
              <a:ext uri="{FF2B5EF4-FFF2-40B4-BE49-F238E27FC236}">
                <a16:creationId xmlns:a16="http://schemas.microsoft.com/office/drawing/2014/main" id="{4B92E664-5E35-D826-D719-91162A1CDECC}"/>
              </a:ext>
            </a:extLst>
          </p:cNvPr>
          <p:cNvSpPr txBox="1">
            <a:spLocks/>
          </p:cNvSpPr>
          <p:nvPr>
            <p:custDataLst>
              <p:tags r:id="rId10"/>
            </p:custDataLst>
          </p:nvPr>
        </p:nvSpPr>
        <p:spPr>
          <a:xfrm>
            <a:off x="3968495" y="3170312"/>
            <a:ext cx="7668769"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pPr>
            <a:r>
              <a:rPr lang="en-US" sz="1200" b="1"/>
              <a:t>Current absence of clear screening and financial commitment allows speculative projects to occupy planning space indefinitely;</a:t>
            </a:r>
            <a:r>
              <a:rPr lang="en-US" sz="1200"/>
              <a:t> upfront readiness checks and financial signals needed before studies begin</a:t>
            </a:r>
            <a:endParaRPr lang="en-US" sz="1200" b="1"/>
          </a:p>
        </p:txBody>
      </p:sp>
      <p:sp>
        <p:nvSpPr>
          <p:cNvPr id="22" name="TrackerNumBlue 13">
            <a:extLst>
              <a:ext uri="{FF2B5EF4-FFF2-40B4-BE49-F238E27FC236}">
                <a16:creationId xmlns:a16="http://schemas.microsoft.com/office/drawing/2014/main" id="{C801523F-FB6C-2AF0-C98A-68E401FCAA8E}"/>
              </a:ext>
            </a:extLst>
          </p:cNvPr>
          <p:cNvSpPr/>
          <p:nvPr>
            <p:custDataLst>
              <p:tags r:id="rId11"/>
            </p:custDataLst>
          </p:nvPr>
        </p:nvSpPr>
        <p:spPr>
          <a:xfrm>
            <a:off x="547688" y="3170312"/>
            <a:ext cx="230859" cy="230859"/>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050" b="1">
                <a:solidFill>
                  <a:schemeClr val="bg1"/>
                </a:solidFill>
              </a:rPr>
              <a:t>4</a:t>
            </a:r>
          </a:p>
        </p:txBody>
      </p:sp>
      <p:sp>
        <p:nvSpPr>
          <p:cNvPr id="26" name="TextBox 25">
            <a:extLst>
              <a:ext uri="{FF2B5EF4-FFF2-40B4-BE49-F238E27FC236}">
                <a16:creationId xmlns:a16="http://schemas.microsoft.com/office/drawing/2014/main" id="{A8D7BEBF-F0BD-796A-609D-1EF9C4C663A7}"/>
              </a:ext>
            </a:extLst>
          </p:cNvPr>
          <p:cNvSpPr txBox="1">
            <a:spLocks/>
          </p:cNvSpPr>
          <p:nvPr>
            <p:custDataLst>
              <p:tags r:id="rId12"/>
            </p:custDataLst>
          </p:nvPr>
        </p:nvSpPr>
        <p:spPr>
          <a:xfrm>
            <a:off x="936208" y="2533540"/>
            <a:ext cx="2626231"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Shifting from sequential LLIs to </a:t>
            </a:r>
            <a:br>
              <a:rPr lang="en-US" sz="1200" b="1"/>
            </a:br>
            <a:r>
              <a:rPr lang="en-US" sz="1200" b="1"/>
              <a:t>ERCOT-led batch studies</a:t>
            </a:r>
          </a:p>
        </p:txBody>
      </p:sp>
      <p:sp>
        <p:nvSpPr>
          <p:cNvPr id="28" name="TextBox 27">
            <a:extLst>
              <a:ext uri="{FF2B5EF4-FFF2-40B4-BE49-F238E27FC236}">
                <a16:creationId xmlns:a16="http://schemas.microsoft.com/office/drawing/2014/main" id="{262FDB61-8824-9E68-EAA3-70BF451CE192}"/>
              </a:ext>
            </a:extLst>
          </p:cNvPr>
          <p:cNvSpPr txBox="1">
            <a:spLocks/>
          </p:cNvSpPr>
          <p:nvPr>
            <p:custDataLst>
              <p:tags r:id="rId13"/>
            </p:custDataLst>
          </p:nvPr>
        </p:nvSpPr>
        <p:spPr>
          <a:xfrm>
            <a:off x="3968495" y="2533540"/>
            <a:ext cx="7668769"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pPr>
            <a:r>
              <a:rPr lang="en-US" sz="1200" b="1"/>
              <a:t>Sequential LLIs no longer scale under current volume of large loads:</a:t>
            </a:r>
            <a:r>
              <a:rPr lang="en-US" sz="1200"/>
              <a:t> </a:t>
            </a:r>
            <a:r>
              <a:rPr lang="en-US" sz="1200" b="1"/>
              <a:t>ERCOT-led batch studies is broadly seen as necessary </a:t>
            </a:r>
            <a:r>
              <a:rPr lang="en-US" sz="1200"/>
              <a:t>to reduce restudies and provide system-level planning signals</a:t>
            </a:r>
          </a:p>
        </p:txBody>
      </p:sp>
      <p:sp>
        <p:nvSpPr>
          <p:cNvPr id="23" name="TrackerNumBlue 13">
            <a:extLst>
              <a:ext uri="{FF2B5EF4-FFF2-40B4-BE49-F238E27FC236}">
                <a16:creationId xmlns:a16="http://schemas.microsoft.com/office/drawing/2014/main" id="{754F8380-0E9E-6A54-B4E8-2D5BDC93DF4F}"/>
              </a:ext>
            </a:extLst>
          </p:cNvPr>
          <p:cNvSpPr/>
          <p:nvPr>
            <p:custDataLst>
              <p:tags r:id="rId14"/>
            </p:custDataLst>
          </p:nvPr>
        </p:nvSpPr>
        <p:spPr>
          <a:xfrm>
            <a:off x="547688" y="2533541"/>
            <a:ext cx="230859" cy="230859"/>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050" b="1">
                <a:solidFill>
                  <a:schemeClr val="bg1"/>
                </a:solidFill>
              </a:rPr>
              <a:t>3</a:t>
            </a:r>
          </a:p>
        </p:txBody>
      </p:sp>
      <p:sp>
        <p:nvSpPr>
          <p:cNvPr id="61" name="TextBox 60">
            <a:extLst>
              <a:ext uri="{FF2B5EF4-FFF2-40B4-BE49-F238E27FC236}">
                <a16:creationId xmlns:a16="http://schemas.microsoft.com/office/drawing/2014/main" id="{13B22392-948E-170F-38E3-F084484E1BA7}"/>
              </a:ext>
            </a:extLst>
          </p:cNvPr>
          <p:cNvSpPr txBox="1">
            <a:spLocks/>
          </p:cNvSpPr>
          <p:nvPr>
            <p:custDataLst>
              <p:tags r:id="rId15"/>
            </p:custDataLst>
          </p:nvPr>
        </p:nvSpPr>
        <p:spPr>
          <a:xfrm>
            <a:off x="936209" y="1259996"/>
            <a:ext cx="2547655"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Transparency and visibility across the process</a:t>
            </a:r>
          </a:p>
        </p:txBody>
      </p:sp>
      <p:sp>
        <p:nvSpPr>
          <p:cNvPr id="62" name="TextBox 61">
            <a:extLst>
              <a:ext uri="{FF2B5EF4-FFF2-40B4-BE49-F238E27FC236}">
                <a16:creationId xmlns:a16="http://schemas.microsoft.com/office/drawing/2014/main" id="{86799CC8-F2C0-4C83-092D-5ADDD0C4C586}"/>
              </a:ext>
            </a:extLst>
          </p:cNvPr>
          <p:cNvSpPr txBox="1">
            <a:spLocks/>
          </p:cNvSpPr>
          <p:nvPr>
            <p:custDataLst>
              <p:tags r:id="rId16"/>
            </p:custDataLst>
          </p:nvPr>
        </p:nvSpPr>
        <p:spPr>
          <a:xfrm>
            <a:off x="3968495" y="1259996"/>
            <a:ext cx="7668769"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pPr>
            <a:r>
              <a:rPr lang="en-US" sz="1200" b="1"/>
              <a:t>Need for standardized milestones and clear, system-wide transparency </a:t>
            </a:r>
            <a:r>
              <a:rPr lang="en-US" sz="1200"/>
              <a:t>(e.g., visibility into project status, timelines) to reduce uncertainty, restudy risk and speed up decision-making</a:t>
            </a:r>
          </a:p>
        </p:txBody>
      </p:sp>
      <p:sp>
        <p:nvSpPr>
          <p:cNvPr id="24" name="TrackerNumBlue 13">
            <a:extLst>
              <a:ext uri="{FF2B5EF4-FFF2-40B4-BE49-F238E27FC236}">
                <a16:creationId xmlns:a16="http://schemas.microsoft.com/office/drawing/2014/main" id="{5D6D313D-57CF-CD5E-1E19-6F2CEB427D63}"/>
              </a:ext>
            </a:extLst>
          </p:cNvPr>
          <p:cNvSpPr/>
          <p:nvPr>
            <p:custDataLst>
              <p:tags r:id="rId17"/>
            </p:custDataLst>
          </p:nvPr>
        </p:nvSpPr>
        <p:spPr>
          <a:xfrm>
            <a:off x="547688" y="1259996"/>
            <a:ext cx="230859" cy="230859"/>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050" b="1">
                <a:solidFill>
                  <a:schemeClr val="bg1"/>
                </a:solidFill>
              </a:rPr>
              <a:t>1</a:t>
            </a:r>
          </a:p>
        </p:txBody>
      </p:sp>
      <p:sp>
        <p:nvSpPr>
          <p:cNvPr id="76" name="TextBox 75">
            <a:extLst>
              <a:ext uri="{FF2B5EF4-FFF2-40B4-BE49-F238E27FC236}">
                <a16:creationId xmlns:a16="http://schemas.microsoft.com/office/drawing/2014/main" id="{25EF557B-213D-C604-4C4B-C349E00B201C}"/>
              </a:ext>
            </a:extLst>
          </p:cNvPr>
          <p:cNvSpPr txBox="1">
            <a:spLocks/>
          </p:cNvSpPr>
          <p:nvPr>
            <p:custDataLst>
              <p:tags r:id="rId18"/>
            </p:custDataLst>
          </p:nvPr>
        </p:nvSpPr>
        <p:spPr>
          <a:xfrm>
            <a:off x="936209" y="3807084"/>
            <a:ext cx="2547655"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Acceptance of partial, ramped, or conditional load</a:t>
            </a:r>
          </a:p>
        </p:txBody>
      </p:sp>
      <p:sp>
        <p:nvSpPr>
          <p:cNvPr id="77" name="TextBox 76">
            <a:extLst>
              <a:ext uri="{FF2B5EF4-FFF2-40B4-BE49-F238E27FC236}">
                <a16:creationId xmlns:a16="http://schemas.microsoft.com/office/drawing/2014/main" id="{B2F96AB3-922A-657F-5FAB-EBB414A14F18}"/>
              </a:ext>
            </a:extLst>
          </p:cNvPr>
          <p:cNvSpPr txBox="1">
            <a:spLocks/>
          </p:cNvSpPr>
          <p:nvPr>
            <p:custDataLst>
              <p:tags r:id="rId19"/>
            </p:custDataLst>
          </p:nvPr>
        </p:nvSpPr>
        <p:spPr>
          <a:xfrm>
            <a:off x="3968495" y="3807084"/>
            <a:ext cx="7668769"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pPr>
            <a:r>
              <a:rPr lang="en-US" sz="1200" b="1"/>
              <a:t>Full immediate firm service is not always required for project viability:</a:t>
            </a:r>
            <a:r>
              <a:rPr lang="en-US" sz="1200"/>
              <a:t> </a:t>
            </a:r>
            <a:r>
              <a:rPr lang="en-US" sz="1200" b="1"/>
              <a:t>willingness to accept partial MW allocations, ramp profiles, or conditional service </a:t>
            </a:r>
            <a:r>
              <a:rPr lang="en-US" sz="1200"/>
              <a:t>as a bridge to full delivery if terms are explicit and predictable</a:t>
            </a:r>
            <a:endParaRPr lang="en-US" sz="1200" b="1"/>
          </a:p>
        </p:txBody>
      </p:sp>
      <p:sp>
        <p:nvSpPr>
          <p:cNvPr id="27" name="TrackerNumBlue 13">
            <a:extLst>
              <a:ext uri="{FF2B5EF4-FFF2-40B4-BE49-F238E27FC236}">
                <a16:creationId xmlns:a16="http://schemas.microsoft.com/office/drawing/2014/main" id="{8362FDC3-B286-524F-0987-4C3468F1482F}"/>
              </a:ext>
            </a:extLst>
          </p:cNvPr>
          <p:cNvSpPr/>
          <p:nvPr>
            <p:custDataLst>
              <p:tags r:id="rId20"/>
            </p:custDataLst>
          </p:nvPr>
        </p:nvSpPr>
        <p:spPr>
          <a:xfrm>
            <a:off x="547688" y="3807084"/>
            <a:ext cx="230859" cy="230859"/>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050" b="1">
                <a:solidFill>
                  <a:schemeClr val="bg1"/>
                </a:solidFill>
              </a:rPr>
              <a:t>5</a:t>
            </a:r>
          </a:p>
        </p:txBody>
      </p:sp>
      <p:sp>
        <p:nvSpPr>
          <p:cNvPr id="82" name="TextBox 81">
            <a:extLst>
              <a:ext uri="{FF2B5EF4-FFF2-40B4-BE49-F238E27FC236}">
                <a16:creationId xmlns:a16="http://schemas.microsoft.com/office/drawing/2014/main" id="{C3CB28B7-1D93-20BA-1CA6-2CBECFAA523A}"/>
              </a:ext>
            </a:extLst>
          </p:cNvPr>
          <p:cNvSpPr txBox="1">
            <a:spLocks/>
          </p:cNvSpPr>
          <p:nvPr>
            <p:custDataLst>
              <p:tags r:id="rId21"/>
            </p:custDataLst>
          </p:nvPr>
        </p:nvSpPr>
        <p:spPr>
          <a:xfrm>
            <a:off x="936209" y="4443856"/>
            <a:ext cx="2547655"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Appetite for BYOG</a:t>
            </a:r>
            <a:r>
              <a:rPr lang="en-US" sz="1200" b="1" baseline="30000"/>
              <a:t>1</a:t>
            </a:r>
            <a:r>
              <a:rPr lang="en-US" sz="1200" b="1"/>
              <a:t> and CLR</a:t>
            </a:r>
            <a:r>
              <a:rPr lang="en-US" sz="1200" b="1" baseline="30000"/>
              <a:t>2</a:t>
            </a:r>
            <a:r>
              <a:rPr lang="en-US" sz="1200" b="1"/>
              <a:t>, if treated appropriately</a:t>
            </a:r>
          </a:p>
        </p:txBody>
      </p:sp>
      <p:sp>
        <p:nvSpPr>
          <p:cNvPr id="83" name="TextBox 82">
            <a:extLst>
              <a:ext uri="{FF2B5EF4-FFF2-40B4-BE49-F238E27FC236}">
                <a16:creationId xmlns:a16="http://schemas.microsoft.com/office/drawing/2014/main" id="{2E3F18BB-7E5C-5760-30DA-E03FA3B9D9D4}"/>
              </a:ext>
            </a:extLst>
          </p:cNvPr>
          <p:cNvSpPr txBox="1">
            <a:spLocks/>
          </p:cNvSpPr>
          <p:nvPr>
            <p:custDataLst>
              <p:tags r:id="rId22"/>
            </p:custDataLst>
          </p:nvPr>
        </p:nvSpPr>
        <p:spPr>
          <a:xfrm>
            <a:off x="3968495" y="4443856"/>
            <a:ext cx="7668769"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pPr>
            <a:r>
              <a:rPr lang="en-US" sz="1200" b="1"/>
              <a:t>Co-located generation or controllability (e.g., CLR) offer benefits to the overall system, yet current processes largely treat them the same </a:t>
            </a:r>
            <a:r>
              <a:rPr lang="en-US" sz="1200"/>
              <a:t>as standalone firm load, limiting recognized value</a:t>
            </a:r>
          </a:p>
        </p:txBody>
      </p:sp>
      <p:sp>
        <p:nvSpPr>
          <p:cNvPr id="29" name="TrackerNumBlue 13">
            <a:extLst>
              <a:ext uri="{FF2B5EF4-FFF2-40B4-BE49-F238E27FC236}">
                <a16:creationId xmlns:a16="http://schemas.microsoft.com/office/drawing/2014/main" id="{BFE6CD25-36AF-40F3-2A1C-7633572DB1F8}"/>
              </a:ext>
            </a:extLst>
          </p:cNvPr>
          <p:cNvSpPr/>
          <p:nvPr>
            <p:custDataLst>
              <p:tags r:id="rId23"/>
            </p:custDataLst>
          </p:nvPr>
        </p:nvSpPr>
        <p:spPr>
          <a:xfrm>
            <a:off x="547688" y="4443856"/>
            <a:ext cx="230859" cy="230859"/>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050" b="1">
                <a:solidFill>
                  <a:schemeClr val="bg1"/>
                </a:solidFill>
              </a:rPr>
              <a:t>6</a:t>
            </a:r>
          </a:p>
        </p:txBody>
      </p:sp>
      <p:cxnSp>
        <p:nvCxnSpPr>
          <p:cNvPr id="2" name="Straight Connector 1">
            <a:extLst>
              <a:ext uri="{FF2B5EF4-FFF2-40B4-BE49-F238E27FC236}">
                <a16:creationId xmlns:a16="http://schemas.microsoft.com/office/drawing/2014/main" id="{4762C93C-2DC9-FE05-069A-7AAE0BECC3F6}"/>
              </a:ext>
            </a:extLst>
          </p:cNvPr>
          <p:cNvCxnSpPr>
            <a:cxnSpLocks/>
          </p:cNvCxnSpPr>
          <p:nvPr/>
        </p:nvCxnSpPr>
        <p:spPr>
          <a:xfrm>
            <a:off x="547688" y="4946908"/>
            <a:ext cx="11089576"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C7B70E29-7865-07F9-AA9C-2125CC131C91}"/>
              </a:ext>
            </a:extLst>
          </p:cNvPr>
          <p:cNvSpPr txBox="1">
            <a:spLocks/>
          </p:cNvSpPr>
          <p:nvPr>
            <p:custDataLst>
              <p:tags r:id="rId24"/>
            </p:custDataLst>
          </p:nvPr>
        </p:nvSpPr>
        <p:spPr>
          <a:xfrm>
            <a:off x="936209" y="1896768"/>
            <a:ext cx="2547655"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Predictability and timing of the process</a:t>
            </a:r>
          </a:p>
        </p:txBody>
      </p:sp>
      <p:sp>
        <p:nvSpPr>
          <p:cNvPr id="10" name="TextBox 9">
            <a:extLst>
              <a:ext uri="{FF2B5EF4-FFF2-40B4-BE49-F238E27FC236}">
                <a16:creationId xmlns:a16="http://schemas.microsoft.com/office/drawing/2014/main" id="{B39C4E1D-6D1B-FB84-D9B0-3A5369023DDD}"/>
              </a:ext>
            </a:extLst>
          </p:cNvPr>
          <p:cNvSpPr txBox="1">
            <a:spLocks/>
          </p:cNvSpPr>
          <p:nvPr>
            <p:custDataLst>
              <p:tags r:id="rId25"/>
            </p:custDataLst>
          </p:nvPr>
        </p:nvSpPr>
        <p:spPr>
          <a:xfrm>
            <a:off x="3968495" y="1896768"/>
            <a:ext cx="7668769"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pPr>
            <a:r>
              <a:rPr lang="en-US" sz="1200" b="1"/>
              <a:t>Uncertainty around timing is more damaging than constrained outcomes</a:t>
            </a:r>
            <a:r>
              <a:rPr lang="en-US" sz="1200"/>
              <a:t>: need for clear decision windows and explicit go/no-go points to enable financing and capital planning</a:t>
            </a:r>
          </a:p>
        </p:txBody>
      </p:sp>
      <p:sp>
        <p:nvSpPr>
          <p:cNvPr id="13" name="TrackerNumBlue 13">
            <a:extLst>
              <a:ext uri="{FF2B5EF4-FFF2-40B4-BE49-F238E27FC236}">
                <a16:creationId xmlns:a16="http://schemas.microsoft.com/office/drawing/2014/main" id="{5DA71497-8E8F-1E4D-3F7F-1D7719757907}"/>
              </a:ext>
            </a:extLst>
          </p:cNvPr>
          <p:cNvSpPr/>
          <p:nvPr>
            <p:custDataLst>
              <p:tags r:id="rId26"/>
            </p:custDataLst>
          </p:nvPr>
        </p:nvSpPr>
        <p:spPr>
          <a:xfrm>
            <a:off x="547688" y="1896768"/>
            <a:ext cx="230859" cy="230859"/>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050" b="1">
                <a:solidFill>
                  <a:schemeClr val="bg1"/>
                </a:solidFill>
              </a:rPr>
              <a:t>2</a:t>
            </a:r>
          </a:p>
        </p:txBody>
      </p:sp>
      <p:cxnSp>
        <p:nvCxnSpPr>
          <p:cNvPr id="14" name="Straight Connector 13">
            <a:extLst>
              <a:ext uri="{FF2B5EF4-FFF2-40B4-BE49-F238E27FC236}">
                <a16:creationId xmlns:a16="http://schemas.microsoft.com/office/drawing/2014/main" id="{97F50926-F564-D732-5026-8F801EE24555}"/>
              </a:ext>
            </a:extLst>
          </p:cNvPr>
          <p:cNvCxnSpPr>
            <a:cxnSpLocks/>
          </p:cNvCxnSpPr>
          <p:nvPr/>
        </p:nvCxnSpPr>
        <p:spPr>
          <a:xfrm>
            <a:off x="547688" y="5583680"/>
            <a:ext cx="11089576"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94C3F77D-A4BA-DC50-4082-B0ABEBCB37D6}"/>
              </a:ext>
            </a:extLst>
          </p:cNvPr>
          <p:cNvSpPr txBox="1">
            <a:spLocks/>
          </p:cNvSpPr>
          <p:nvPr>
            <p:custDataLst>
              <p:tags r:id="rId27"/>
            </p:custDataLst>
          </p:nvPr>
        </p:nvSpPr>
        <p:spPr>
          <a:xfrm>
            <a:off x="936209" y="5717396"/>
            <a:ext cx="2547655"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Fragmented ownership, particularly in early stages</a:t>
            </a:r>
          </a:p>
        </p:txBody>
      </p:sp>
      <p:sp>
        <p:nvSpPr>
          <p:cNvPr id="16" name="TextBox 15">
            <a:extLst>
              <a:ext uri="{FF2B5EF4-FFF2-40B4-BE49-F238E27FC236}">
                <a16:creationId xmlns:a16="http://schemas.microsoft.com/office/drawing/2014/main" id="{0E729BE1-B8E1-BD57-36C1-69FC053A4D78}"/>
              </a:ext>
            </a:extLst>
          </p:cNvPr>
          <p:cNvSpPr txBox="1">
            <a:spLocks/>
          </p:cNvSpPr>
          <p:nvPr>
            <p:custDataLst>
              <p:tags r:id="rId28"/>
            </p:custDataLst>
          </p:nvPr>
        </p:nvSpPr>
        <p:spPr>
          <a:xfrm>
            <a:off x="3968495" y="5717396"/>
            <a:ext cx="7668769"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pPr>
            <a:r>
              <a:rPr lang="en-US" sz="1200" b="1"/>
              <a:t>Early stages of the LLI process are fragmented across TDSPs, TSPs, and ERCOT, with unclear ownership and handoffs</a:t>
            </a:r>
            <a:r>
              <a:rPr lang="en-US" sz="1200"/>
              <a:t>, raising questions about how much execution should be standardized versus left to local judgment</a:t>
            </a:r>
          </a:p>
        </p:txBody>
      </p:sp>
      <p:sp>
        <p:nvSpPr>
          <p:cNvPr id="18" name="TrackerNumBlue 13">
            <a:extLst>
              <a:ext uri="{FF2B5EF4-FFF2-40B4-BE49-F238E27FC236}">
                <a16:creationId xmlns:a16="http://schemas.microsoft.com/office/drawing/2014/main" id="{DFD9EFCB-C12E-5DCD-6FBC-E2C7F88BE659}"/>
              </a:ext>
            </a:extLst>
          </p:cNvPr>
          <p:cNvSpPr/>
          <p:nvPr>
            <p:custDataLst>
              <p:tags r:id="rId29"/>
            </p:custDataLst>
          </p:nvPr>
        </p:nvSpPr>
        <p:spPr>
          <a:xfrm>
            <a:off x="547688" y="5717396"/>
            <a:ext cx="230859" cy="230859"/>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050" b="1">
                <a:solidFill>
                  <a:schemeClr val="bg1"/>
                </a:solidFill>
              </a:rPr>
              <a:t>8</a:t>
            </a:r>
          </a:p>
        </p:txBody>
      </p:sp>
      <p:sp>
        <p:nvSpPr>
          <p:cNvPr id="42" name="TextBox 41">
            <a:extLst>
              <a:ext uri="{FF2B5EF4-FFF2-40B4-BE49-F238E27FC236}">
                <a16:creationId xmlns:a16="http://schemas.microsoft.com/office/drawing/2014/main" id="{7A7C3AB7-DD65-0180-FF35-494271FB0C96}"/>
              </a:ext>
            </a:extLst>
          </p:cNvPr>
          <p:cNvSpPr txBox="1"/>
          <p:nvPr/>
        </p:nvSpPr>
        <p:spPr>
          <a:xfrm>
            <a:off x="2149749" y="6191668"/>
            <a:ext cx="8711544" cy="246221"/>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1. Bring Your Own Generation: large load that brings co-located or dedicated generation to supply part/all of demand, reducing net reliance on the transmission system  |  2. Controllable Load Resource: large load capable of reducing or modulating consumption in response to system conditions or instructions, providing operational flexibility during constraints</a:t>
            </a:r>
          </a:p>
        </p:txBody>
      </p:sp>
    </p:spTree>
    <p:custDataLst>
      <p:tags r:id="rId1"/>
    </p:custDataLst>
    <p:extLst>
      <p:ext uri="{BB962C8B-B14F-4D97-AF65-F5344CB8AC3E}">
        <p14:creationId xmlns:p14="http://schemas.microsoft.com/office/powerpoint/2010/main" val="31448784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198E63-9210-9DD6-DF7E-3CF176011217}"/>
            </a:ext>
          </a:extLst>
        </p:cNvPr>
        <p:cNvGrpSpPr/>
        <p:nvPr/>
      </p:nvGrpSpPr>
      <p:grpSpPr>
        <a:xfrm>
          <a:off x="0" y="0"/>
          <a:ext cx="0" cy="0"/>
          <a:chOff x="0" y="0"/>
          <a:chExt cx="0" cy="0"/>
        </a:xfrm>
      </p:grpSpPr>
      <p:graphicFrame>
        <p:nvGraphicFramePr>
          <p:cNvPr id="9" name="Object 6" hidden="1">
            <a:extLst>
              <a:ext uri="{FF2B5EF4-FFF2-40B4-BE49-F238E27FC236}">
                <a16:creationId xmlns:a16="http://schemas.microsoft.com/office/drawing/2014/main" id="{B17C351C-6C7A-DFF4-5DCE-E4974831FFA1}"/>
              </a:ext>
            </a:extLst>
          </p:cNvPr>
          <p:cNvGraphicFramePr>
            <a:graphicFrameLocks noChangeAspect="1"/>
          </p:cNvGraphicFramePr>
          <p:nvPr>
            <p:custDataLst>
              <p:tags r:id="rId2"/>
            </p:custDataLst>
            <p:extLst>
              <p:ext uri="{D42A27DB-BD31-4B8C-83A1-F6EECF244321}">
                <p14:modId xmlns:p14="http://schemas.microsoft.com/office/powerpoint/2010/main" val="39972175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404" imgH="403" progId="TCLayout.ActiveDocument.1">
                  <p:embed/>
                </p:oleObj>
              </mc:Choice>
              <mc:Fallback>
                <p:oleObj name="think-cell Slide" r:id="rId31" imgW="404" imgH="403" progId="TCLayout.ActiveDocument.1">
                  <p:embed/>
                  <p:pic>
                    <p:nvPicPr>
                      <p:cNvPr id="9" name="Object 6" hidden="1">
                        <a:extLst>
                          <a:ext uri="{FF2B5EF4-FFF2-40B4-BE49-F238E27FC236}">
                            <a16:creationId xmlns:a16="http://schemas.microsoft.com/office/drawing/2014/main" id="{B17C351C-6C7A-DFF4-5DCE-E4974831FFA1}"/>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5" name="2. Slide Title">
            <a:extLst>
              <a:ext uri="{FF2B5EF4-FFF2-40B4-BE49-F238E27FC236}">
                <a16:creationId xmlns:a16="http://schemas.microsoft.com/office/drawing/2014/main" id="{2A9EACC0-3764-D930-526B-C0095DCF7166}"/>
              </a:ext>
            </a:extLst>
          </p:cNvPr>
          <p:cNvSpPr>
            <a:spLocks noGrp="1"/>
          </p:cNvSpPr>
          <p:nvPr>
            <p:ph type="title"/>
            <p:custDataLst>
              <p:tags r:id="rId3"/>
            </p:custDataLst>
          </p:nvPr>
        </p:nvSpPr>
        <p:spPr>
          <a:xfrm>
            <a:off x="554736" y="326214"/>
            <a:ext cx="11082528" cy="384721"/>
          </a:xfrm>
        </p:spPr>
        <p:txBody>
          <a:bodyPr vert="horz" anchor="ctr">
            <a:spAutoFit/>
          </a:bodyPr>
          <a:lstStyle/>
          <a:p>
            <a:r>
              <a:rPr lang="en-US">
                <a:latin typeface="+mn-lt"/>
              </a:rPr>
              <a:t>Topics </a:t>
            </a:r>
            <a:r>
              <a:rPr lang="en-US" i="1" u="sng">
                <a:latin typeface="+mn-lt"/>
              </a:rPr>
              <a:t>with lack of alignment </a:t>
            </a:r>
            <a:r>
              <a:rPr lang="en-US">
                <a:latin typeface="+mn-lt"/>
              </a:rPr>
              <a:t>from stakeholder interviews</a:t>
            </a:r>
          </a:p>
        </p:txBody>
      </p:sp>
      <p:cxnSp>
        <p:nvCxnSpPr>
          <p:cNvPr id="12" name="Straight Connector 11">
            <a:extLst>
              <a:ext uri="{FF2B5EF4-FFF2-40B4-BE49-F238E27FC236}">
                <a16:creationId xmlns:a16="http://schemas.microsoft.com/office/drawing/2014/main" id="{2CDC3025-8B17-7602-FCD1-AB77752EEF97}"/>
              </a:ext>
            </a:extLst>
          </p:cNvPr>
          <p:cNvCxnSpPr>
            <a:cxnSpLocks/>
          </p:cNvCxnSpPr>
          <p:nvPr/>
        </p:nvCxnSpPr>
        <p:spPr>
          <a:xfrm>
            <a:off x="547688" y="1166467"/>
            <a:ext cx="1108957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9E484B29-E3DB-555C-F34B-C39C1B42E3B7}"/>
              </a:ext>
            </a:extLst>
          </p:cNvPr>
          <p:cNvSpPr txBox="1">
            <a:spLocks/>
          </p:cNvSpPr>
          <p:nvPr>
            <p:custDataLst>
              <p:tags r:id="rId4"/>
            </p:custDataLst>
          </p:nvPr>
        </p:nvSpPr>
        <p:spPr>
          <a:xfrm>
            <a:off x="547688" y="926156"/>
            <a:ext cx="2263182"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Area of disagreement</a:t>
            </a:r>
          </a:p>
        </p:txBody>
      </p:sp>
      <p:sp>
        <p:nvSpPr>
          <p:cNvPr id="51" name="TextBox 50">
            <a:extLst>
              <a:ext uri="{FF2B5EF4-FFF2-40B4-BE49-F238E27FC236}">
                <a16:creationId xmlns:a16="http://schemas.microsoft.com/office/drawing/2014/main" id="{58C2B769-D1EA-8AC4-FB0D-2D9C65E94951}"/>
              </a:ext>
            </a:extLst>
          </p:cNvPr>
          <p:cNvSpPr txBox="1"/>
          <p:nvPr/>
        </p:nvSpPr>
        <p:spPr>
          <a:xfrm>
            <a:off x="2149749" y="6551240"/>
            <a:ext cx="4064000" cy="123111"/>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Stakeholder interviews</a:t>
            </a:r>
          </a:p>
        </p:txBody>
      </p:sp>
      <p:sp>
        <p:nvSpPr>
          <p:cNvPr id="17" name="TextBox 16">
            <a:extLst>
              <a:ext uri="{FF2B5EF4-FFF2-40B4-BE49-F238E27FC236}">
                <a16:creationId xmlns:a16="http://schemas.microsoft.com/office/drawing/2014/main" id="{B2C14B94-C110-C1CD-60CD-5F2B765EF1CB}"/>
              </a:ext>
            </a:extLst>
          </p:cNvPr>
          <p:cNvSpPr txBox="1">
            <a:spLocks/>
          </p:cNvSpPr>
          <p:nvPr>
            <p:custDataLst>
              <p:tags r:id="rId5"/>
            </p:custDataLst>
          </p:nvPr>
        </p:nvSpPr>
        <p:spPr>
          <a:xfrm>
            <a:off x="3520951" y="926156"/>
            <a:ext cx="7650894"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Details</a:t>
            </a:r>
          </a:p>
        </p:txBody>
      </p:sp>
      <p:cxnSp>
        <p:nvCxnSpPr>
          <p:cNvPr id="11" name="Straight Connector 10">
            <a:extLst>
              <a:ext uri="{FF2B5EF4-FFF2-40B4-BE49-F238E27FC236}">
                <a16:creationId xmlns:a16="http://schemas.microsoft.com/office/drawing/2014/main" id="{0E943561-87C6-EFFF-1ED3-DB7F85A9BB05}"/>
              </a:ext>
            </a:extLst>
          </p:cNvPr>
          <p:cNvCxnSpPr>
            <a:cxnSpLocks/>
          </p:cNvCxnSpPr>
          <p:nvPr/>
        </p:nvCxnSpPr>
        <p:spPr>
          <a:xfrm>
            <a:off x="547688" y="1763048"/>
            <a:ext cx="11089576"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3623544D-47B1-FDA9-B8C7-6B32E484BC3C}"/>
              </a:ext>
            </a:extLst>
          </p:cNvPr>
          <p:cNvCxnSpPr>
            <a:cxnSpLocks/>
          </p:cNvCxnSpPr>
          <p:nvPr/>
        </p:nvCxnSpPr>
        <p:spPr>
          <a:xfrm>
            <a:off x="547688" y="2399820"/>
            <a:ext cx="11089576"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02696B3A-FDE9-D5B3-0CA9-5387712769F8}"/>
              </a:ext>
            </a:extLst>
          </p:cNvPr>
          <p:cNvCxnSpPr>
            <a:cxnSpLocks/>
          </p:cNvCxnSpPr>
          <p:nvPr/>
        </p:nvCxnSpPr>
        <p:spPr>
          <a:xfrm>
            <a:off x="547688" y="3036592"/>
            <a:ext cx="11089576"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1F5E2C1-65F6-042F-EB0D-30605FEEE259}"/>
              </a:ext>
            </a:extLst>
          </p:cNvPr>
          <p:cNvCxnSpPr>
            <a:cxnSpLocks/>
          </p:cNvCxnSpPr>
          <p:nvPr/>
        </p:nvCxnSpPr>
        <p:spPr>
          <a:xfrm>
            <a:off x="547688" y="3673364"/>
            <a:ext cx="11089576"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DFF1EC5E-6E8B-6D1D-2A79-88A30A336C25}"/>
              </a:ext>
            </a:extLst>
          </p:cNvPr>
          <p:cNvGrpSpPr/>
          <p:nvPr/>
        </p:nvGrpSpPr>
        <p:grpSpPr>
          <a:xfrm>
            <a:off x="547688" y="1896768"/>
            <a:ext cx="11089577" cy="369332"/>
            <a:chOff x="547688" y="1903160"/>
            <a:chExt cx="11089577" cy="369332"/>
          </a:xfrm>
        </p:grpSpPr>
        <p:sp>
          <p:nvSpPr>
            <p:cNvPr id="47" name="TextBox 46">
              <a:extLst>
                <a:ext uri="{FF2B5EF4-FFF2-40B4-BE49-F238E27FC236}">
                  <a16:creationId xmlns:a16="http://schemas.microsoft.com/office/drawing/2014/main" id="{EE241203-6AE5-F376-F2B3-8EECD73C5BCF}"/>
                </a:ext>
              </a:extLst>
            </p:cNvPr>
            <p:cNvSpPr txBox="1">
              <a:spLocks/>
            </p:cNvSpPr>
            <p:nvPr>
              <p:custDataLst>
                <p:tags r:id="rId27"/>
              </p:custDataLst>
            </p:nvPr>
          </p:nvSpPr>
          <p:spPr>
            <a:xfrm>
              <a:off x="936209" y="1903160"/>
              <a:ext cx="2427079"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Calibration of financial commitment requirements</a:t>
              </a:r>
              <a:r>
                <a:rPr lang="en-US" sz="1200" b="1" baseline="30000"/>
                <a:t>2</a:t>
              </a:r>
              <a:endParaRPr lang="en-US" sz="1200" b="1"/>
            </a:p>
          </p:txBody>
        </p:sp>
        <p:sp>
          <p:nvSpPr>
            <p:cNvPr id="48" name="TextBox 47">
              <a:extLst>
                <a:ext uri="{FF2B5EF4-FFF2-40B4-BE49-F238E27FC236}">
                  <a16:creationId xmlns:a16="http://schemas.microsoft.com/office/drawing/2014/main" id="{0F38CFA7-6D6A-C987-8D77-E8535494BF62}"/>
                </a:ext>
              </a:extLst>
            </p:cNvPr>
            <p:cNvSpPr txBox="1">
              <a:spLocks/>
            </p:cNvSpPr>
            <p:nvPr>
              <p:custDataLst>
                <p:tags r:id="rId28"/>
              </p:custDataLst>
            </p:nvPr>
          </p:nvSpPr>
          <p:spPr>
            <a:xfrm>
              <a:off x="3520951" y="1903160"/>
              <a:ext cx="8116314"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pPr>
              <a:r>
                <a:rPr lang="en-US" sz="1200" b="1"/>
                <a:t>While financial commitment is viewed as necessary to crowd out speculative load, there is divergence on appropriate size</a:t>
              </a:r>
              <a:r>
                <a:rPr lang="en-US" sz="1200"/>
                <a:t>, timing, escalation path, and refundability, balancing filtering against risk of excluding viable projects</a:t>
              </a:r>
            </a:p>
          </p:txBody>
        </p:sp>
        <p:sp>
          <p:nvSpPr>
            <p:cNvPr id="21" name="TrackerNumBlue 13">
              <a:extLst>
                <a:ext uri="{FF2B5EF4-FFF2-40B4-BE49-F238E27FC236}">
                  <a16:creationId xmlns:a16="http://schemas.microsoft.com/office/drawing/2014/main" id="{33AB9080-8CF6-71BA-239C-922E7B57E5B5}"/>
                </a:ext>
              </a:extLst>
            </p:cNvPr>
            <p:cNvSpPr/>
            <p:nvPr>
              <p:custDataLst>
                <p:tags r:id="rId29"/>
              </p:custDataLst>
            </p:nvPr>
          </p:nvSpPr>
          <p:spPr>
            <a:xfrm>
              <a:off x="547688" y="1903160"/>
              <a:ext cx="230859" cy="230859"/>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050" b="1">
                  <a:solidFill>
                    <a:schemeClr val="bg1"/>
                  </a:solidFill>
                </a:rPr>
                <a:t>2</a:t>
              </a:r>
            </a:p>
          </p:txBody>
        </p:sp>
      </p:grpSp>
      <p:grpSp>
        <p:nvGrpSpPr>
          <p:cNvPr id="25" name="Group 24">
            <a:extLst>
              <a:ext uri="{FF2B5EF4-FFF2-40B4-BE49-F238E27FC236}">
                <a16:creationId xmlns:a16="http://schemas.microsoft.com/office/drawing/2014/main" id="{CCDBC26E-57AB-D726-8371-034CCCF4D094}"/>
              </a:ext>
            </a:extLst>
          </p:cNvPr>
          <p:cNvGrpSpPr/>
          <p:nvPr/>
        </p:nvGrpSpPr>
        <p:grpSpPr>
          <a:xfrm>
            <a:off x="547688" y="2533540"/>
            <a:ext cx="11089577" cy="369332"/>
            <a:chOff x="547688" y="2536269"/>
            <a:chExt cx="11089577" cy="369332"/>
          </a:xfrm>
        </p:grpSpPr>
        <p:sp>
          <p:nvSpPr>
            <p:cNvPr id="54" name="TextBox 53">
              <a:extLst>
                <a:ext uri="{FF2B5EF4-FFF2-40B4-BE49-F238E27FC236}">
                  <a16:creationId xmlns:a16="http://schemas.microsoft.com/office/drawing/2014/main" id="{D5105BE8-3B70-0461-0FCC-B1FD27B6D42A}"/>
                </a:ext>
              </a:extLst>
            </p:cNvPr>
            <p:cNvSpPr txBox="1">
              <a:spLocks/>
            </p:cNvSpPr>
            <p:nvPr>
              <p:custDataLst>
                <p:tags r:id="rId24"/>
              </p:custDataLst>
            </p:nvPr>
          </p:nvSpPr>
          <p:spPr>
            <a:xfrm>
              <a:off x="936209" y="2536269"/>
              <a:ext cx="2427079"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Treatment of already-approved, contracted, and in-service loads</a:t>
              </a:r>
            </a:p>
          </p:txBody>
        </p:sp>
        <p:sp>
          <p:nvSpPr>
            <p:cNvPr id="55" name="TextBox 54">
              <a:extLst>
                <a:ext uri="{FF2B5EF4-FFF2-40B4-BE49-F238E27FC236}">
                  <a16:creationId xmlns:a16="http://schemas.microsoft.com/office/drawing/2014/main" id="{01870B92-2051-E90A-ADCE-C569060EF253}"/>
                </a:ext>
              </a:extLst>
            </p:cNvPr>
            <p:cNvSpPr txBox="1">
              <a:spLocks/>
            </p:cNvSpPr>
            <p:nvPr>
              <p:custDataLst>
                <p:tags r:id="rId25"/>
              </p:custDataLst>
            </p:nvPr>
          </p:nvSpPr>
          <p:spPr>
            <a:xfrm>
              <a:off x="3520951" y="2536269"/>
              <a:ext cx="8116314"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pPr>
              <a:r>
                <a:rPr lang="en-US" sz="1200" b="1"/>
                <a:t>While protection of already-approved, contracted, and in-service loads in Batch 0 is supported</a:t>
              </a:r>
              <a:r>
                <a:rPr lang="en-US" sz="1200"/>
                <a:t>, </a:t>
              </a:r>
              <a:r>
                <a:rPr lang="en-US" sz="1200" b="1"/>
                <a:t>there is lack of alignment over what constitutes “approved” load </a:t>
              </a:r>
              <a:r>
                <a:rPr lang="en-US" sz="1200"/>
                <a:t>from the absence of a clear, consistently applied definition </a:t>
              </a:r>
              <a:endParaRPr lang="en-US" sz="1200" b="1"/>
            </a:p>
          </p:txBody>
        </p:sp>
        <p:sp>
          <p:nvSpPr>
            <p:cNvPr id="22" name="TrackerNumBlue 13">
              <a:extLst>
                <a:ext uri="{FF2B5EF4-FFF2-40B4-BE49-F238E27FC236}">
                  <a16:creationId xmlns:a16="http://schemas.microsoft.com/office/drawing/2014/main" id="{B4652D8C-92F9-2894-FB24-135833EABC7D}"/>
                </a:ext>
              </a:extLst>
            </p:cNvPr>
            <p:cNvSpPr/>
            <p:nvPr>
              <p:custDataLst>
                <p:tags r:id="rId26"/>
              </p:custDataLst>
            </p:nvPr>
          </p:nvSpPr>
          <p:spPr>
            <a:xfrm>
              <a:off x="547688" y="2536269"/>
              <a:ext cx="230859" cy="230859"/>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050" b="1">
                  <a:solidFill>
                    <a:schemeClr val="bg1"/>
                  </a:solidFill>
                </a:rPr>
                <a:t>3</a:t>
              </a:r>
            </a:p>
          </p:txBody>
        </p:sp>
      </p:grpSp>
      <p:sp>
        <p:nvSpPr>
          <p:cNvPr id="26" name="TextBox 25">
            <a:extLst>
              <a:ext uri="{FF2B5EF4-FFF2-40B4-BE49-F238E27FC236}">
                <a16:creationId xmlns:a16="http://schemas.microsoft.com/office/drawing/2014/main" id="{347A57DC-E4C4-D2A6-399A-4E80681DE057}"/>
              </a:ext>
            </a:extLst>
          </p:cNvPr>
          <p:cNvSpPr txBox="1">
            <a:spLocks/>
          </p:cNvSpPr>
          <p:nvPr>
            <p:custDataLst>
              <p:tags r:id="rId6"/>
            </p:custDataLst>
          </p:nvPr>
        </p:nvSpPr>
        <p:spPr>
          <a:xfrm>
            <a:off x="936209" y="1259996"/>
            <a:ext cx="2427079"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Fairness anchor: chronology vs. readiness and commitment</a:t>
            </a:r>
          </a:p>
        </p:txBody>
      </p:sp>
      <p:sp>
        <p:nvSpPr>
          <p:cNvPr id="28" name="TextBox 27">
            <a:extLst>
              <a:ext uri="{FF2B5EF4-FFF2-40B4-BE49-F238E27FC236}">
                <a16:creationId xmlns:a16="http://schemas.microsoft.com/office/drawing/2014/main" id="{821954EB-2958-B3B7-69BC-0CBC64EB6680}"/>
              </a:ext>
            </a:extLst>
          </p:cNvPr>
          <p:cNvSpPr txBox="1">
            <a:spLocks/>
          </p:cNvSpPr>
          <p:nvPr>
            <p:custDataLst>
              <p:tags r:id="rId7"/>
            </p:custDataLst>
          </p:nvPr>
        </p:nvSpPr>
        <p:spPr>
          <a:xfrm>
            <a:off x="3520951" y="1259996"/>
            <a:ext cx="8116314"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pPr>
            <a:r>
              <a:rPr lang="en-US" sz="1200" b="1"/>
              <a:t>No consensus on how fairness should be defined: views are split between FIFO</a:t>
            </a:r>
            <a:r>
              <a:rPr lang="en-US" sz="1200" b="1" baseline="30000"/>
              <a:t>1</a:t>
            </a:r>
            <a:r>
              <a:rPr lang="en-US" sz="1200" b="1"/>
              <a:t> as the only defensible anchor vs. readiness criteria</a:t>
            </a:r>
            <a:r>
              <a:rPr lang="en-US" sz="1200"/>
              <a:t>, commitment, and likelihood of delivery</a:t>
            </a:r>
          </a:p>
        </p:txBody>
      </p:sp>
      <p:sp>
        <p:nvSpPr>
          <p:cNvPr id="23" name="TrackerNumBlue 13">
            <a:extLst>
              <a:ext uri="{FF2B5EF4-FFF2-40B4-BE49-F238E27FC236}">
                <a16:creationId xmlns:a16="http://schemas.microsoft.com/office/drawing/2014/main" id="{111A2E79-A63C-040A-94B2-154005278D23}"/>
              </a:ext>
            </a:extLst>
          </p:cNvPr>
          <p:cNvSpPr/>
          <p:nvPr>
            <p:custDataLst>
              <p:tags r:id="rId8"/>
            </p:custDataLst>
          </p:nvPr>
        </p:nvSpPr>
        <p:spPr>
          <a:xfrm>
            <a:off x="547688" y="1259997"/>
            <a:ext cx="230859" cy="230859"/>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050" b="1">
                <a:solidFill>
                  <a:schemeClr val="bg1"/>
                </a:solidFill>
              </a:rPr>
              <a:t>1</a:t>
            </a:r>
          </a:p>
        </p:txBody>
      </p:sp>
      <p:grpSp>
        <p:nvGrpSpPr>
          <p:cNvPr id="32" name="Group 31">
            <a:extLst>
              <a:ext uri="{FF2B5EF4-FFF2-40B4-BE49-F238E27FC236}">
                <a16:creationId xmlns:a16="http://schemas.microsoft.com/office/drawing/2014/main" id="{B521FDCD-E22B-47EC-1605-EDE55413E3E6}"/>
              </a:ext>
            </a:extLst>
          </p:cNvPr>
          <p:cNvGrpSpPr/>
          <p:nvPr/>
        </p:nvGrpSpPr>
        <p:grpSpPr>
          <a:xfrm>
            <a:off x="547688" y="3170312"/>
            <a:ext cx="11089577" cy="369332"/>
            <a:chOff x="547688" y="3179652"/>
            <a:chExt cx="11089577" cy="369332"/>
          </a:xfrm>
        </p:grpSpPr>
        <p:sp>
          <p:nvSpPr>
            <p:cNvPr id="61" name="TextBox 60">
              <a:extLst>
                <a:ext uri="{FF2B5EF4-FFF2-40B4-BE49-F238E27FC236}">
                  <a16:creationId xmlns:a16="http://schemas.microsoft.com/office/drawing/2014/main" id="{DEF53094-F2BF-8AE0-0570-D836A38CEB39}"/>
                </a:ext>
              </a:extLst>
            </p:cNvPr>
            <p:cNvSpPr txBox="1">
              <a:spLocks/>
            </p:cNvSpPr>
            <p:nvPr>
              <p:custDataLst>
                <p:tags r:id="rId21"/>
              </p:custDataLst>
            </p:nvPr>
          </p:nvSpPr>
          <p:spPr>
            <a:xfrm>
              <a:off x="936209" y="3179652"/>
              <a:ext cx="2427079"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Minimum viable MW thresholds vs. pro-rata allocation</a:t>
              </a:r>
            </a:p>
          </p:txBody>
        </p:sp>
        <p:sp>
          <p:nvSpPr>
            <p:cNvPr id="62" name="TextBox 61">
              <a:extLst>
                <a:ext uri="{FF2B5EF4-FFF2-40B4-BE49-F238E27FC236}">
                  <a16:creationId xmlns:a16="http://schemas.microsoft.com/office/drawing/2014/main" id="{B870EA21-0263-6DC2-9DD2-E80C8F28D242}"/>
                </a:ext>
              </a:extLst>
            </p:cNvPr>
            <p:cNvSpPr txBox="1">
              <a:spLocks/>
            </p:cNvSpPr>
            <p:nvPr>
              <p:custDataLst>
                <p:tags r:id="rId22"/>
              </p:custDataLst>
            </p:nvPr>
          </p:nvSpPr>
          <p:spPr>
            <a:xfrm>
              <a:off x="3520951" y="3179652"/>
              <a:ext cx="8116314"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pPr>
              <a:r>
                <a:rPr lang="en-US" sz="1200" b="1"/>
                <a:t>Partial MW allocations are viewed by some as a workable bridge and by others as rendering projects infeasible </a:t>
              </a:r>
              <a:r>
                <a:rPr lang="en-US" sz="1200"/>
                <a:t>without explicit minimum thresholds and clear forward paths</a:t>
              </a:r>
              <a:endParaRPr lang="en-US" sz="1200" b="1"/>
            </a:p>
          </p:txBody>
        </p:sp>
        <p:sp>
          <p:nvSpPr>
            <p:cNvPr id="24" name="TrackerNumBlue 13">
              <a:extLst>
                <a:ext uri="{FF2B5EF4-FFF2-40B4-BE49-F238E27FC236}">
                  <a16:creationId xmlns:a16="http://schemas.microsoft.com/office/drawing/2014/main" id="{5FF5395F-66F5-70E5-99BB-9CD48A0064CB}"/>
                </a:ext>
              </a:extLst>
            </p:cNvPr>
            <p:cNvSpPr/>
            <p:nvPr>
              <p:custDataLst>
                <p:tags r:id="rId23"/>
              </p:custDataLst>
            </p:nvPr>
          </p:nvSpPr>
          <p:spPr>
            <a:xfrm>
              <a:off x="547688" y="3179652"/>
              <a:ext cx="230859" cy="230859"/>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050" b="1">
                  <a:solidFill>
                    <a:schemeClr val="bg1"/>
                  </a:solidFill>
                </a:rPr>
                <a:t>4</a:t>
              </a:r>
            </a:p>
          </p:txBody>
        </p:sp>
      </p:grpSp>
      <p:grpSp>
        <p:nvGrpSpPr>
          <p:cNvPr id="37" name="Group 36">
            <a:extLst>
              <a:ext uri="{FF2B5EF4-FFF2-40B4-BE49-F238E27FC236}">
                <a16:creationId xmlns:a16="http://schemas.microsoft.com/office/drawing/2014/main" id="{F046CBCE-DF37-0148-DEE1-FD5E49281AE7}"/>
              </a:ext>
            </a:extLst>
          </p:cNvPr>
          <p:cNvGrpSpPr/>
          <p:nvPr/>
        </p:nvGrpSpPr>
        <p:grpSpPr>
          <a:xfrm>
            <a:off x="547688" y="3807084"/>
            <a:ext cx="11089577" cy="369332"/>
            <a:chOff x="547688" y="3843583"/>
            <a:chExt cx="11089577" cy="369332"/>
          </a:xfrm>
        </p:grpSpPr>
        <p:sp>
          <p:nvSpPr>
            <p:cNvPr id="76" name="TextBox 75">
              <a:extLst>
                <a:ext uri="{FF2B5EF4-FFF2-40B4-BE49-F238E27FC236}">
                  <a16:creationId xmlns:a16="http://schemas.microsoft.com/office/drawing/2014/main" id="{474C05CD-FC09-8155-8C05-B33229A04892}"/>
                </a:ext>
              </a:extLst>
            </p:cNvPr>
            <p:cNvSpPr txBox="1">
              <a:spLocks/>
            </p:cNvSpPr>
            <p:nvPr>
              <p:custDataLst>
                <p:tags r:id="rId18"/>
              </p:custDataLst>
            </p:nvPr>
          </p:nvSpPr>
          <p:spPr>
            <a:xfrm>
              <a:off x="936209" y="3843583"/>
              <a:ext cx="2427079"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Batch cadence speed vs. stability</a:t>
              </a:r>
            </a:p>
          </p:txBody>
        </p:sp>
        <p:sp>
          <p:nvSpPr>
            <p:cNvPr id="77" name="TextBox 76">
              <a:extLst>
                <a:ext uri="{FF2B5EF4-FFF2-40B4-BE49-F238E27FC236}">
                  <a16:creationId xmlns:a16="http://schemas.microsoft.com/office/drawing/2014/main" id="{C542B393-07AA-98C0-54C9-B5AC302E6910}"/>
                </a:ext>
              </a:extLst>
            </p:cNvPr>
            <p:cNvSpPr txBox="1">
              <a:spLocks/>
            </p:cNvSpPr>
            <p:nvPr>
              <p:custDataLst>
                <p:tags r:id="rId19"/>
              </p:custDataLst>
            </p:nvPr>
          </p:nvSpPr>
          <p:spPr>
            <a:xfrm>
              <a:off x="3520951" y="3843583"/>
              <a:ext cx="8116314"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pPr>
              <a:r>
                <a:rPr lang="en-US" sz="1200" b="1"/>
                <a:t>No consensus on optimal batch frequency:</a:t>
              </a:r>
              <a:r>
                <a:rPr lang="en-US" sz="1200"/>
                <a:t> some stakeholders favor faster (e.g., semi-annual/quarterly) cycles to reduce delay and uncertainty, while others see a slower cadence to limit restudies as preferred</a:t>
              </a:r>
            </a:p>
          </p:txBody>
        </p:sp>
        <p:sp>
          <p:nvSpPr>
            <p:cNvPr id="27" name="TrackerNumBlue 13">
              <a:extLst>
                <a:ext uri="{FF2B5EF4-FFF2-40B4-BE49-F238E27FC236}">
                  <a16:creationId xmlns:a16="http://schemas.microsoft.com/office/drawing/2014/main" id="{C1B27CDA-F546-2F09-2BBC-9DE0CAF82B7B}"/>
                </a:ext>
              </a:extLst>
            </p:cNvPr>
            <p:cNvSpPr/>
            <p:nvPr>
              <p:custDataLst>
                <p:tags r:id="rId20"/>
              </p:custDataLst>
            </p:nvPr>
          </p:nvSpPr>
          <p:spPr>
            <a:xfrm>
              <a:off x="547688" y="3843583"/>
              <a:ext cx="230859" cy="230859"/>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050" b="1">
                  <a:solidFill>
                    <a:schemeClr val="bg1"/>
                  </a:solidFill>
                </a:rPr>
                <a:t>5</a:t>
              </a:r>
            </a:p>
          </p:txBody>
        </p:sp>
      </p:grpSp>
      <p:sp>
        <p:nvSpPr>
          <p:cNvPr id="30" name="TextBox 29">
            <a:extLst>
              <a:ext uri="{FF2B5EF4-FFF2-40B4-BE49-F238E27FC236}">
                <a16:creationId xmlns:a16="http://schemas.microsoft.com/office/drawing/2014/main" id="{777FA114-EF0E-33E9-1845-64FEE8DE2B8C}"/>
              </a:ext>
            </a:extLst>
          </p:cNvPr>
          <p:cNvSpPr txBox="1"/>
          <p:nvPr/>
        </p:nvSpPr>
        <p:spPr>
          <a:xfrm>
            <a:off x="2149749" y="6191668"/>
            <a:ext cx="8711544" cy="246221"/>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1. First In First Out (ensuring chronological order of entry in the process is respected)  |  2. Note that this is the objective of Public Utility Commission of Texas, Project No. 58481 (Rulemaking to Implement Large Load Interconnection Standards under PURA §37.0561)</a:t>
            </a:r>
          </a:p>
        </p:txBody>
      </p:sp>
      <p:cxnSp>
        <p:nvCxnSpPr>
          <p:cNvPr id="49" name="Straight Connector 48">
            <a:extLst>
              <a:ext uri="{FF2B5EF4-FFF2-40B4-BE49-F238E27FC236}">
                <a16:creationId xmlns:a16="http://schemas.microsoft.com/office/drawing/2014/main" id="{139EDA32-EBC5-EFC3-31EA-DA49E0386228}"/>
              </a:ext>
            </a:extLst>
          </p:cNvPr>
          <p:cNvCxnSpPr>
            <a:cxnSpLocks/>
          </p:cNvCxnSpPr>
          <p:nvPr/>
        </p:nvCxnSpPr>
        <p:spPr>
          <a:xfrm>
            <a:off x="547688" y="4310136"/>
            <a:ext cx="11089576"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C035235F-4969-CECA-9AFF-5397F7442FF8}"/>
              </a:ext>
            </a:extLst>
          </p:cNvPr>
          <p:cNvSpPr txBox="1">
            <a:spLocks/>
          </p:cNvSpPr>
          <p:nvPr>
            <p:custDataLst>
              <p:tags r:id="rId9"/>
            </p:custDataLst>
          </p:nvPr>
        </p:nvSpPr>
        <p:spPr>
          <a:xfrm>
            <a:off x="936209" y="4443856"/>
            <a:ext cx="2427079"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Use of good cause exception for transition to batch studies​</a:t>
            </a:r>
          </a:p>
        </p:txBody>
      </p:sp>
      <p:sp>
        <p:nvSpPr>
          <p:cNvPr id="53" name="TextBox 52">
            <a:extLst>
              <a:ext uri="{FF2B5EF4-FFF2-40B4-BE49-F238E27FC236}">
                <a16:creationId xmlns:a16="http://schemas.microsoft.com/office/drawing/2014/main" id="{00C1EF57-4C88-03F3-B564-FF9A5D38BA18}"/>
              </a:ext>
            </a:extLst>
          </p:cNvPr>
          <p:cNvSpPr txBox="1">
            <a:spLocks/>
          </p:cNvSpPr>
          <p:nvPr>
            <p:custDataLst>
              <p:tags r:id="rId10"/>
            </p:custDataLst>
          </p:nvPr>
        </p:nvSpPr>
        <p:spPr>
          <a:xfrm>
            <a:off x="3520951" y="4443856"/>
            <a:ext cx="8116314"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pPr>
            <a:r>
              <a:rPr lang="en-US" sz="1200" b="1"/>
              <a:t>Differing views on if and how a good cause exception should be used and how to prevent it from becoming a precedent </a:t>
            </a:r>
            <a:r>
              <a:rPr lang="en-US" sz="1200"/>
              <a:t>amid overlapping and evolving rule changes​</a:t>
            </a:r>
            <a:endParaRPr lang="en-US" sz="1050"/>
          </a:p>
        </p:txBody>
      </p:sp>
      <p:sp>
        <p:nvSpPr>
          <p:cNvPr id="56" name="TrackerNumBlue 13">
            <a:extLst>
              <a:ext uri="{FF2B5EF4-FFF2-40B4-BE49-F238E27FC236}">
                <a16:creationId xmlns:a16="http://schemas.microsoft.com/office/drawing/2014/main" id="{2D17257D-94CD-1AF5-532B-F1635AAAB162}"/>
              </a:ext>
            </a:extLst>
          </p:cNvPr>
          <p:cNvSpPr/>
          <p:nvPr>
            <p:custDataLst>
              <p:tags r:id="rId11"/>
            </p:custDataLst>
          </p:nvPr>
        </p:nvSpPr>
        <p:spPr>
          <a:xfrm>
            <a:off x="547688" y="4443856"/>
            <a:ext cx="230859" cy="230859"/>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050" b="1">
                <a:solidFill>
                  <a:schemeClr val="bg1"/>
                </a:solidFill>
              </a:rPr>
              <a:t>6</a:t>
            </a:r>
          </a:p>
        </p:txBody>
      </p:sp>
      <p:cxnSp>
        <p:nvCxnSpPr>
          <p:cNvPr id="57" name="Straight Connector 56">
            <a:extLst>
              <a:ext uri="{FF2B5EF4-FFF2-40B4-BE49-F238E27FC236}">
                <a16:creationId xmlns:a16="http://schemas.microsoft.com/office/drawing/2014/main" id="{593C4850-BC2A-BA93-E456-A41264630651}"/>
              </a:ext>
            </a:extLst>
          </p:cNvPr>
          <p:cNvCxnSpPr>
            <a:cxnSpLocks/>
          </p:cNvCxnSpPr>
          <p:nvPr/>
        </p:nvCxnSpPr>
        <p:spPr>
          <a:xfrm>
            <a:off x="547688" y="4946908"/>
            <a:ext cx="11089576"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68227B92-E76B-C50F-E279-6783410AD49B}"/>
              </a:ext>
            </a:extLst>
          </p:cNvPr>
          <p:cNvSpPr txBox="1">
            <a:spLocks/>
          </p:cNvSpPr>
          <p:nvPr>
            <p:custDataLst>
              <p:tags r:id="rId12"/>
            </p:custDataLst>
          </p:nvPr>
        </p:nvSpPr>
        <p:spPr>
          <a:xfrm>
            <a:off x="936209" y="5080628"/>
            <a:ext cx="2427079"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Decision windows following batch results</a:t>
            </a:r>
          </a:p>
        </p:txBody>
      </p:sp>
      <p:sp>
        <p:nvSpPr>
          <p:cNvPr id="60" name="TextBox 59">
            <a:extLst>
              <a:ext uri="{FF2B5EF4-FFF2-40B4-BE49-F238E27FC236}">
                <a16:creationId xmlns:a16="http://schemas.microsoft.com/office/drawing/2014/main" id="{E8757CF1-BA49-C54A-D719-FFBA5F8F1DAD}"/>
              </a:ext>
            </a:extLst>
          </p:cNvPr>
          <p:cNvSpPr txBox="1">
            <a:spLocks/>
          </p:cNvSpPr>
          <p:nvPr>
            <p:custDataLst>
              <p:tags r:id="rId13"/>
            </p:custDataLst>
          </p:nvPr>
        </p:nvSpPr>
        <p:spPr>
          <a:xfrm>
            <a:off x="3520951" y="5080628"/>
            <a:ext cx="8116314"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pPr>
            <a:r>
              <a:rPr lang="en-US" sz="1200" b="1"/>
              <a:t>Divergent views on study acceptance decision timelines:</a:t>
            </a:r>
            <a:r>
              <a:rPr lang="en-US" sz="1200"/>
              <a:t> some stakeholders view short windows (e.g., 30 days) as sufficient, others argue for longer windows (e.g., 60–90 days) to secure internal approvals, financing, and commitments</a:t>
            </a:r>
          </a:p>
        </p:txBody>
      </p:sp>
      <p:sp>
        <p:nvSpPr>
          <p:cNvPr id="63" name="TrackerNumBlue 13">
            <a:extLst>
              <a:ext uri="{FF2B5EF4-FFF2-40B4-BE49-F238E27FC236}">
                <a16:creationId xmlns:a16="http://schemas.microsoft.com/office/drawing/2014/main" id="{3E57A641-EC48-EC5C-94E8-760E1353F539}"/>
              </a:ext>
            </a:extLst>
          </p:cNvPr>
          <p:cNvSpPr/>
          <p:nvPr>
            <p:custDataLst>
              <p:tags r:id="rId14"/>
            </p:custDataLst>
          </p:nvPr>
        </p:nvSpPr>
        <p:spPr>
          <a:xfrm>
            <a:off x="547688" y="5080628"/>
            <a:ext cx="230859" cy="230859"/>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050" b="1">
                <a:solidFill>
                  <a:schemeClr val="bg1"/>
                </a:solidFill>
              </a:rPr>
              <a:t>7</a:t>
            </a:r>
          </a:p>
        </p:txBody>
      </p:sp>
      <p:cxnSp>
        <p:nvCxnSpPr>
          <p:cNvPr id="2" name="Straight Connector 1">
            <a:extLst>
              <a:ext uri="{FF2B5EF4-FFF2-40B4-BE49-F238E27FC236}">
                <a16:creationId xmlns:a16="http://schemas.microsoft.com/office/drawing/2014/main" id="{C7C56EC6-BB86-1BB8-A02F-295BF2529AFD}"/>
              </a:ext>
            </a:extLst>
          </p:cNvPr>
          <p:cNvCxnSpPr>
            <a:cxnSpLocks/>
          </p:cNvCxnSpPr>
          <p:nvPr/>
        </p:nvCxnSpPr>
        <p:spPr>
          <a:xfrm>
            <a:off x="547688" y="5583680"/>
            <a:ext cx="11089576"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3CE01FB8-3E75-0F10-0A5D-E6A2E6670DD4}"/>
              </a:ext>
            </a:extLst>
          </p:cNvPr>
          <p:cNvSpPr txBox="1">
            <a:spLocks/>
          </p:cNvSpPr>
          <p:nvPr>
            <p:custDataLst>
              <p:tags r:id="rId15"/>
            </p:custDataLst>
          </p:nvPr>
        </p:nvSpPr>
        <p:spPr>
          <a:xfrm>
            <a:off x="936209" y="5717396"/>
            <a:ext cx="2427079"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Waiting period before Batch 0 launch</a:t>
            </a:r>
          </a:p>
        </p:txBody>
      </p:sp>
      <p:sp>
        <p:nvSpPr>
          <p:cNvPr id="4" name="TextBox 3">
            <a:extLst>
              <a:ext uri="{FF2B5EF4-FFF2-40B4-BE49-F238E27FC236}">
                <a16:creationId xmlns:a16="http://schemas.microsoft.com/office/drawing/2014/main" id="{93B5FBB7-0DA6-F11B-2952-F4B1D19BC728}"/>
              </a:ext>
            </a:extLst>
          </p:cNvPr>
          <p:cNvSpPr txBox="1">
            <a:spLocks/>
          </p:cNvSpPr>
          <p:nvPr>
            <p:custDataLst>
              <p:tags r:id="rId16"/>
            </p:custDataLst>
          </p:nvPr>
        </p:nvSpPr>
        <p:spPr>
          <a:xfrm>
            <a:off x="3520951" y="5717396"/>
            <a:ext cx="8116314"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pPr>
            <a:r>
              <a:rPr lang="en-US" sz="1200" b="1"/>
              <a:t>Differing views on whether to delay Batch 0 to allow a curing period for stakeholders to meet eligibility criteria vs. launching immediately </a:t>
            </a:r>
            <a:r>
              <a:rPr lang="en-US" sz="1200"/>
              <a:t>to avoid prolonging uncertainty and backlog</a:t>
            </a:r>
          </a:p>
        </p:txBody>
      </p:sp>
      <p:sp>
        <p:nvSpPr>
          <p:cNvPr id="6" name="TrackerNumBlue 13">
            <a:extLst>
              <a:ext uri="{FF2B5EF4-FFF2-40B4-BE49-F238E27FC236}">
                <a16:creationId xmlns:a16="http://schemas.microsoft.com/office/drawing/2014/main" id="{6889E7DD-E6E9-1AF7-63AF-91CF0896EB29}"/>
              </a:ext>
            </a:extLst>
          </p:cNvPr>
          <p:cNvSpPr/>
          <p:nvPr>
            <p:custDataLst>
              <p:tags r:id="rId17"/>
            </p:custDataLst>
          </p:nvPr>
        </p:nvSpPr>
        <p:spPr>
          <a:xfrm>
            <a:off x="547688" y="5717396"/>
            <a:ext cx="230859" cy="230859"/>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050" b="1">
                <a:solidFill>
                  <a:schemeClr val="bg1"/>
                </a:solidFill>
              </a:rPr>
              <a:t>8</a:t>
            </a:r>
          </a:p>
        </p:txBody>
      </p:sp>
    </p:spTree>
    <p:custDataLst>
      <p:tags r:id="rId1"/>
    </p:custDataLst>
    <p:extLst>
      <p:ext uri="{BB962C8B-B14F-4D97-AF65-F5344CB8AC3E}">
        <p14:creationId xmlns:p14="http://schemas.microsoft.com/office/powerpoint/2010/main" val="6126215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2371A8-C870-998B-6CDD-B31E7B3A5E02}"/>
            </a:ext>
          </a:extLst>
        </p:cNvPr>
        <p:cNvGrpSpPr/>
        <p:nvPr/>
      </p:nvGrpSpPr>
      <p:grpSpPr>
        <a:xfrm>
          <a:off x="0" y="0"/>
          <a:ext cx="0" cy="0"/>
          <a:chOff x="0" y="0"/>
          <a:chExt cx="0" cy="0"/>
        </a:xfrm>
      </p:grpSpPr>
      <p:graphicFrame>
        <p:nvGraphicFramePr>
          <p:cNvPr id="212" name="Object 6" hidden="1">
            <a:extLst>
              <a:ext uri="{FF2B5EF4-FFF2-40B4-BE49-F238E27FC236}">
                <a16:creationId xmlns:a16="http://schemas.microsoft.com/office/drawing/2014/main" id="{9CF17DFA-9EC8-3699-756C-817C4615F9E2}"/>
              </a:ext>
            </a:extLst>
          </p:cNvPr>
          <p:cNvGraphicFramePr>
            <a:graphicFrameLocks noChangeAspect="1"/>
          </p:cNvGraphicFramePr>
          <p:nvPr>
            <p:custDataLst>
              <p:tags r:id="rId1"/>
            </p:custDataLst>
            <p:extLst>
              <p:ext uri="{D42A27DB-BD31-4B8C-83A1-F6EECF244321}">
                <p14:modId xmlns:p14="http://schemas.microsoft.com/office/powerpoint/2010/main" val="5772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4" imgW="404" imgH="403" progId="TCLayout.ActiveDocument.1">
                  <p:embed/>
                </p:oleObj>
              </mc:Choice>
              <mc:Fallback>
                <p:oleObj name="think-cell Slide" r:id="rId134" imgW="404" imgH="403" progId="TCLayout.ActiveDocument.1">
                  <p:embed/>
                  <p:pic>
                    <p:nvPicPr>
                      <p:cNvPr id="212" name="Object 6" hidden="1">
                        <a:extLst>
                          <a:ext uri="{FF2B5EF4-FFF2-40B4-BE49-F238E27FC236}">
                            <a16:creationId xmlns:a16="http://schemas.microsoft.com/office/drawing/2014/main" id="{9CF17DFA-9EC8-3699-756C-817C4615F9E2}"/>
                          </a:ext>
                        </a:extLst>
                      </p:cNvPr>
                      <p:cNvPicPr/>
                      <p:nvPr/>
                    </p:nvPicPr>
                    <p:blipFill>
                      <a:blip r:embed="rId135"/>
                      <a:stretch>
                        <a:fillRect/>
                      </a:stretch>
                    </p:blipFill>
                    <p:spPr>
                      <a:xfrm>
                        <a:off x="1588" y="1588"/>
                        <a:ext cx="1588" cy="1588"/>
                      </a:xfrm>
                      <a:prstGeom prst="rect">
                        <a:avLst/>
                      </a:prstGeom>
                    </p:spPr>
                  </p:pic>
                </p:oleObj>
              </mc:Fallback>
            </mc:AlternateContent>
          </a:graphicData>
        </a:graphic>
      </p:graphicFrame>
      <p:sp>
        <p:nvSpPr>
          <p:cNvPr id="126" name="TextBox 125">
            <a:extLst>
              <a:ext uri="{FF2B5EF4-FFF2-40B4-BE49-F238E27FC236}">
                <a16:creationId xmlns:a16="http://schemas.microsoft.com/office/drawing/2014/main" id="{4A2FBD13-AD12-BEC0-E538-87F281E9B55B}"/>
              </a:ext>
            </a:extLst>
          </p:cNvPr>
          <p:cNvSpPr txBox="1">
            <a:spLocks/>
          </p:cNvSpPr>
          <p:nvPr>
            <p:custDataLst>
              <p:tags r:id="rId2"/>
            </p:custDataLst>
          </p:nvPr>
        </p:nvSpPr>
        <p:spPr>
          <a:xfrm>
            <a:off x="594424" y="966225"/>
            <a:ext cx="198991"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a:t>
            </a:r>
          </a:p>
        </p:txBody>
      </p:sp>
      <p:sp>
        <p:nvSpPr>
          <p:cNvPr id="127" name="TextBox 126">
            <a:extLst>
              <a:ext uri="{FF2B5EF4-FFF2-40B4-BE49-F238E27FC236}">
                <a16:creationId xmlns:a16="http://schemas.microsoft.com/office/drawing/2014/main" id="{22061540-CDA4-207F-5F4B-2FA6A49C5E1C}"/>
              </a:ext>
            </a:extLst>
          </p:cNvPr>
          <p:cNvSpPr txBox="1">
            <a:spLocks/>
          </p:cNvSpPr>
          <p:nvPr>
            <p:custDataLst>
              <p:tags r:id="rId3"/>
            </p:custDataLst>
          </p:nvPr>
        </p:nvSpPr>
        <p:spPr>
          <a:xfrm>
            <a:off x="855576" y="966225"/>
            <a:ext cx="1851053"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Stakeholder group</a:t>
            </a:r>
          </a:p>
        </p:txBody>
      </p:sp>
      <p:sp>
        <p:nvSpPr>
          <p:cNvPr id="159" name="TextBox 158">
            <a:extLst>
              <a:ext uri="{FF2B5EF4-FFF2-40B4-BE49-F238E27FC236}">
                <a16:creationId xmlns:a16="http://schemas.microsoft.com/office/drawing/2014/main" id="{4CFDC4BC-A08F-CC00-4EDD-3E5683144EAE}"/>
              </a:ext>
            </a:extLst>
          </p:cNvPr>
          <p:cNvSpPr txBox="1">
            <a:spLocks/>
          </p:cNvSpPr>
          <p:nvPr>
            <p:custDataLst>
              <p:tags r:id="rId4"/>
            </p:custDataLst>
          </p:nvPr>
        </p:nvSpPr>
        <p:spPr>
          <a:xfrm>
            <a:off x="3720001" y="966225"/>
            <a:ext cx="2144202" cy="21543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Organization</a:t>
            </a:r>
          </a:p>
        </p:txBody>
      </p:sp>
      <p:sp>
        <p:nvSpPr>
          <p:cNvPr id="176" name="TextBox 175">
            <a:extLst>
              <a:ext uri="{FF2B5EF4-FFF2-40B4-BE49-F238E27FC236}">
                <a16:creationId xmlns:a16="http://schemas.microsoft.com/office/drawing/2014/main" id="{C83AB125-A224-1564-6915-A0760AFB960E}"/>
              </a:ext>
            </a:extLst>
          </p:cNvPr>
          <p:cNvSpPr txBox="1">
            <a:spLocks/>
          </p:cNvSpPr>
          <p:nvPr>
            <p:custDataLst>
              <p:tags r:id="rId5"/>
            </p:custDataLst>
          </p:nvPr>
        </p:nvSpPr>
        <p:spPr>
          <a:xfrm>
            <a:off x="2762302" y="966225"/>
            <a:ext cx="1240728"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Type</a:t>
            </a:r>
          </a:p>
        </p:txBody>
      </p:sp>
      <p:sp>
        <p:nvSpPr>
          <p:cNvPr id="210" name="1. On-page tracker">
            <a:extLst>
              <a:ext uri="{FF2B5EF4-FFF2-40B4-BE49-F238E27FC236}">
                <a16:creationId xmlns:a16="http://schemas.microsoft.com/office/drawing/2014/main" id="{C53C5F3A-EAE1-192B-1874-9CF6CE92590F}"/>
              </a:ext>
            </a:extLst>
          </p:cNvPr>
          <p:cNvSpPr txBox="1">
            <a:spLocks/>
          </p:cNvSpPr>
          <p:nvPr>
            <p:custDataLst>
              <p:tags r:id="rId6"/>
            </p:custDataLst>
          </p:nvPr>
        </p:nvSpPr>
        <p:spPr>
          <a:xfrm>
            <a:off x="7634211" y="53539"/>
            <a:ext cx="4049789" cy="123111"/>
          </a:xfrm>
          <a:prstGeom prst="rect">
            <a:avLst/>
          </a:prstGeom>
        </p:spPr>
        <p:txBody>
          <a:bodyPr vert="horz" wrap="square" lIns="0" tIns="0" rIns="0" bIns="0" rtlCol="0" anchor="ctr" anchorCtr="0">
            <a:sp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b="1" i="1"/>
              <a:t>AS OF 1/30/2026</a:t>
            </a:r>
          </a:p>
        </p:txBody>
      </p:sp>
      <p:sp>
        <p:nvSpPr>
          <p:cNvPr id="77" name="TextBox 76">
            <a:extLst>
              <a:ext uri="{FF2B5EF4-FFF2-40B4-BE49-F238E27FC236}">
                <a16:creationId xmlns:a16="http://schemas.microsoft.com/office/drawing/2014/main" id="{BEB2F89C-7599-8FE4-306C-07BFFF439AD3}"/>
              </a:ext>
            </a:extLst>
          </p:cNvPr>
          <p:cNvSpPr txBox="1">
            <a:spLocks/>
          </p:cNvSpPr>
          <p:nvPr>
            <p:custDataLst>
              <p:tags r:id="rId7"/>
            </p:custDataLst>
          </p:nvPr>
        </p:nvSpPr>
        <p:spPr>
          <a:xfrm>
            <a:off x="594424" y="1276485"/>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1</a:t>
            </a:r>
          </a:p>
        </p:txBody>
      </p:sp>
      <p:sp>
        <p:nvSpPr>
          <p:cNvPr id="78" name="TextBox 77">
            <a:extLst>
              <a:ext uri="{FF2B5EF4-FFF2-40B4-BE49-F238E27FC236}">
                <a16:creationId xmlns:a16="http://schemas.microsoft.com/office/drawing/2014/main" id="{DF017F26-0431-9719-E402-BF50C751576D}"/>
              </a:ext>
            </a:extLst>
          </p:cNvPr>
          <p:cNvSpPr txBox="1">
            <a:spLocks/>
          </p:cNvSpPr>
          <p:nvPr>
            <p:custDataLst>
              <p:tags r:id="rId8"/>
            </p:custDataLst>
          </p:nvPr>
        </p:nvSpPr>
        <p:spPr>
          <a:xfrm>
            <a:off x="855576" y="1276485"/>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Hyperscalers</a:t>
            </a:r>
          </a:p>
        </p:txBody>
      </p:sp>
      <p:sp>
        <p:nvSpPr>
          <p:cNvPr id="79" name="TextBox 78">
            <a:extLst>
              <a:ext uri="{FF2B5EF4-FFF2-40B4-BE49-F238E27FC236}">
                <a16:creationId xmlns:a16="http://schemas.microsoft.com/office/drawing/2014/main" id="{8AB269BD-5FFC-E9CF-297F-AF9612AF2F9A}"/>
              </a:ext>
            </a:extLst>
          </p:cNvPr>
          <p:cNvSpPr txBox="1">
            <a:spLocks/>
          </p:cNvSpPr>
          <p:nvPr>
            <p:custDataLst>
              <p:tags r:id="rId9"/>
            </p:custDataLst>
          </p:nvPr>
        </p:nvSpPr>
        <p:spPr>
          <a:xfrm>
            <a:off x="594424" y="1599895"/>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2</a:t>
            </a:r>
          </a:p>
        </p:txBody>
      </p:sp>
      <p:sp>
        <p:nvSpPr>
          <p:cNvPr id="80" name="TextBox 79">
            <a:extLst>
              <a:ext uri="{FF2B5EF4-FFF2-40B4-BE49-F238E27FC236}">
                <a16:creationId xmlns:a16="http://schemas.microsoft.com/office/drawing/2014/main" id="{D6F3E2FB-8856-D603-8C6C-2E87A8EAF6C4}"/>
              </a:ext>
            </a:extLst>
          </p:cNvPr>
          <p:cNvSpPr txBox="1">
            <a:spLocks/>
          </p:cNvSpPr>
          <p:nvPr>
            <p:custDataLst>
              <p:tags r:id="rId10"/>
            </p:custDataLst>
          </p:nvPr>
        </p:nvSpPr>
        <p:spPr>
          <a:xfrm>
            <a:off x="855576" y="1599895"/>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Developers</a:t>
            </a:r>
          </a:p>
        </p:txBody>
      </p:sp>
      <p:sp>
        <p:nvSpPr>
          <p:cNvPr id="81" name="TextBox 80">
            <a:extLst>
              <a:ext uri="{FF2B5EF4-FFF2-40B4-BE49-F238E27FC236}">
                <a16:creationId xmlns:a16="http://schemas.microsoft.com/office/drawing/2014/main" id="{57D47A0C-52B2-8F1C-6B24-3F88519A0874}"/>
              </a:ext>
            </a:extLst>
          </p:cNvPr>
          <p:cNvSpPr txBox="1">
            <a:spLocks/>
          </p:cNvSpPr>
          <p:nvPr>
            <p:custDataLst>
              <p:tags r:id="rId11"/>
            </p:custDataLst>
          </p:nvPr>
        </p:nvSpPr>
        <p:spPr>
          <a:xfrm>
            <a:off x="594424" y="1923305"/>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3</a:t>
            </a:r>
          </a:p>
        </p:txBody>
      </p:sp>
      <p:sp>
        <p:nvSpPr>
          <p:cNvPr id="82" name="TextBox 81">
            <a:extLst>
              <a:ext uri="{FF2B5EF4-FFF2-40B4-BE49-F238E27FC236}">
                <a16:creationId xmlns:a16="http://schemas.microsoft.com/office/drawing/2014/main" id="{185E47F6-EB4E-A8FB-8A88-BAF715ECB6C7}"/>
              </a:ext>
            </a:extLst>
          </p:cNvPr>
          <p:cNvSpPr txBox="1">
            <a:spLocks/>
          </p:cNvSpPr>
          <p:nvPr>
            <p:custDataLst>
              <p:tags r:id="rId12"/>
            </p:custDataLst>
          </p:nvPr>
        </p:nvSpPr>
        <p:spPr>
          <a:xfrm>
            <a:off x="855576" y="1923305"/>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Developers</a:t>
            </a:r>
          </a:p>
        </p:txBody>
      </p:sp>
      <p:sp>
        <p:nvSpPr>
          <p:cNvPr id="83" name="TextBox 82">
            <a:extLst>
              <a:ext uri="{FF2B5EF4-FFF2-40B4-BE49-F238E27FC236}">
                <a16:creationId xmlns:a16="http://schemas.microsoft.com/office/drawing/2014/main" id="{16D4BB8E-E325-47D4-08CB-48C6E8B76C8A}"/>
              </a:ext>
            </a:extLst>
          </p:cNvPr>
          <p:cNvSpPr txBox="1">
            <a:spLocks/>
          </p:cNvSpPr>
          <p:nvPr>
            <p:custDataLst>
              <p:tags r:id="rId13"/>
            </p:custDataLst>
          </p:nvPr>
        </p:nvSpPr>
        <p:spPr>
          <a:xfrm>
            <a:off x="594424" y="2246715"/>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4</a:t>
            </a:r>
          </a:p>
        </p:txBody>
      </p:sp>
      <p:sp>
        <p:nvSpPr>
          <p:cNvPr id="84" name="TextBox 83">
            <a:extLst>
              <a:ext uri="{FF2B5EF4-FFF2-40B4-BE49-F238E27FC236}">
                <a16:creationId xmlns:a16="http://schemas.microsoft.com/office/drawing/2014/main" id="{BB9DB9E0-D08F-B740-5B53-FA0CD264DA96}"/>
              </a:ext>
            </a:extLst>
          </p:cNvPr>
          <p:cNvSpPr txBox="1">
            <a:spLocks/>
          </p:cNvSpPr>
          <p:nvPr>
            <p:custDataLst>
              <p:tags r:id="rId14"/>
            </p:custDataLst>
          </p:nvPr>
        </p:nvSpPr>
        <p:spPr>
          <a:xfrm>
            <a:off x="855576" y="2246715"/>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OUs</a:t>
            </a:r>
          </a:p>
        </p:txBody>
      </p:sp>
      <p:sp>
        <p:nvSpPr>
          <p:cNvPr id="85" name="TextBox 84">
            <a:extLst>
              <a:ext uri="{FF2B5EF4-FFF2-40B4-BE49-F238E27FC236}">
                <a16:creationId xmlns:a16="http://schemas.microsoft.com/office/drawing/2014/main" id="{1D16C168-78D5-25D1-052D-31A5F7F60EE8}"/>
              </a:ext>
            </a:extLst>
          </p:cNvPr>
          <p:cNvSpPr txBox="1">
            <a:spLocks/>
          </p:cNvSpPr>
          <p:nvPr>
            <p:custDataLst>
              <p:tags r:id="rId15"/>
            </p:custDataLst>
          </p:nvPr>
        </p:nvSpPr>
        <p:spPr>
          <a:xfrm>
            <a:off x="594424" y="2570125"/>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5</a:t>
            </a:r>
          </a:p>
        </p:txBody>
      </p:sp>
      <p:sp>
        <p:nvSpPr>
          <p:cNvPr id="86" name="TextBox 85">
            <a:extLst>
              <a:ext uri="{FF2B5EF4-FFF2-40B4-BE49-F238E27FC236}">
                <a16:creationId xmlns:a16="http://schemas.microsoft.com/office/drawing/2014/main" id="{E94D9B4A-AD85-2C65-2361-D05A294B2372}"/>
              </a:ext>
            </a:extLst>
          </p:cNvPr>
          <p:cNvSpPr txBox="1">
            <a:spLocks/>
          </p:cNvSpPr>
          <p:nvPr>
            <p:custDataLst>
              <p:tags r:id="rId16"/>
            </p:custDataLst>
          </p:nvPr>
        </p:nvSpPr>
        <p:spPr>
          <a:xfrm>
            <a:off x="855576" y="2570125"/>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OUs</a:t>
            </a:r>
          </a:p>
        </p:txBody>
      </p:sp>
      <p:sp>
        <p:nvSpPr>
          <p:cNvPr id="87" name="TextBox 86">
            <a:extLst>
              <a:ext uri="{FF2B5EF4-FFF2-40B4-BE49-F238E27FC236}">
                <a16:creationId xmlns:a16="http://schemas.microsoft.com/office/drawing/2014/main" id="{D845A80F-12A8-D3FA-0FB5-426BDFA7DAA6}"/>
              </a:ext>
            </a:extLst>
          </p:cNvPr>
          <p:cNvSpPr txBox="1">
            <a:spLocks/>
          </p:cNvSpPr>
          <p:nvPr>
            <p:custDataLst>
              <p:tags r:id="rId17"/>
            </p:custDataLst>
          </p:nvPr>
        </p:nvSpPr>
        <p:spPr>
          <a:xfrm>
            <a:off x="594424" y="2893535"/>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6</a:t>
            </a:r>
          </a:p>
        </p:txBody>
      </p:sp>
      <p:sp>
        <p:nvSpPr>
          <p:cNvPr id="88" name="TextBox 87">
            <a:extLst>
              <a:ext uri="{FF2B5EF4-FFF2-40B4-BE49-F238E27FC236}">
                <a16:creationId xmlns:a16="http://schemas.microsoft.com/office/drawing/2014/main" id="{ECB4B91C-270C-CD6A-BE4E-F083434BDC47}"/>
              </a:ext>
            </a:extLst>
          </p:cNvPr>
          <p:cNvSpPr txBox="1">
            <a:spLocks/>
          </p:cNvSpPr>
          <p:nvPr>
            <p:custDataLst>
              <p:tags r:id="rId18"/>
            </p:custDataLst>
          </p:nvPr>
        </p:nvSpPr>
        <p:spPr>
          <a:xfrm>
            <a:off x="855576" y="2893535"/>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Colocators</a:t>
            </a:r>
          </a:p>
        </p:txBody>
      </p:sp>
      <p:sp>
        <p:nvSpPr>
          <p:cNvPr id="89" name="TextBox 88">
            <a:extLst>
              <a:ext uri="{FF2B5EF4-FFF2-40B4-BE49-F238E27FC236}">
                <a16:creationId xmlns:a16="http://schemas.microsoft.com/office/drawing/2014/main" id="{A1966CFE-F669-798B-7B4F-CCABE79B9ED0}"/>
              </a:ext>
            </a:extLst>
          </p:cNvPr>
          <p:cNvSpPr txBox="1">
            <a:spLocks/>
          </p:cNvSpPr>
          <p:nvPr>
            <p:custDataLst>
              <p:tags r:id="rId19"/>
            </p:custDataLst>
          </p:nvPr>
        </p:nvSpPr>
        <p:spPr>
          <a:xfrm>
            <a:off x="594424" y="3216945"/>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7</a:t>
            </a:r>
          </a:p>
        </p:txBody>
      </p:sp>
      <p:sp>
        <p:nvSpPr>
          <p:cNvPr id="90" name="TextBox 89">
            <a:extLst>
              <a:ext uri="{FF2B5EF4-FFF2-40B4-BE49-F238E27FC236}">
                <a16:creationId xmlns:a16="http://schemas.microsoft.com/office/drawing/2014/main" id="{94D87794-8D74-C332-8783-325EFC45CCBE}"/>
              </a:ext>
            </a:extLst>
          </p:cNvPr>
          <p:cNvSpPr txBox="1">
            <a:spLocks/>
          </p:cNvSpPr>
          <p:nvPr>
            <p:custDataLst>
              <p:tags r:id="rId20"/>
            </p:custDataLst>
          </p:nvPr>
        </p:nvSpPr>
        <p:spPr>
          <a:xfrm>
            <a:off x="855576" y="3216945"/>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Hyperscalers</a:t>
            </a:r>
          </a:p>
        </p:txBody>
      </p:sp>
      <p:sp>
        <p:nvSpPr>
          <p:cNvPr id="91" name="TextBox 90">
            <a:extLst>
              <a:ext uri="{FF2B5EF4-FFF2-40B4-BE49-F238E27FC236}">
                <a16:creationId xmlns:a16="http://schemas.microsoft.com/office/drawing/2014/main" id="{71C15751-DC12-2148-F48E-6019957B05CA}"/>
              </a:ext>
            </a:extLst>
          </p:cNvPr>
          <p:cNvSpPr txBox="1">
            <a:spLocks/>
          </p:cNvSpPr>
          <p:nvPr>
            <p:custDataLst>
              <p:tags r:id="rId21"/>
            </p:custDataLst>
          </p:nvPr>
        </p:nvSpPr>
        <p:spPr>
          <a:xfrm>
            <a:off x="594424" y="5801876"/>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15</a:t>
            </a:r>
          </a:p>
        </p:txBody>
      </p:sp>
      <p:sp>
        <p:nvSpPr>
          <p:cNvPr id="92" name="TextBox 91">
            <a:extLst>
              <a:ext uri="{FF2B5EF4-FFF2-40B4-BE49-F238E27FC236}">
                <a16:creationId xmlns:a16="http://schemas.microsoft.com/office/drawing/2014/main" id="{7F3D9FBD-8C12-ACC2-0F07-B216480B21A6}"/>
              </a:ext>
            </a:extLst>
          </p:cNvPr>
          <p:cNvSpPr txBox="1">
            <a:spLocks/>
          </p:cNvSpPr>
          <p:nvPr>
            <p:custDataLst>
              <p:tags r:id="rId22"/>
            </p:custDataLst>
          </p:nvPr>
        </p:nvSpPr>
        <p:spPr>
          <a:xfrm>
            <a:off x="855576" y="5801876"/>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Hyperscalers</a:t>
            </a:r>
          </a:p>
        </p:txBody>
      </p:sp>
      <p:sp>
        <p:nvSpPr>
          <p:cNvPr id="93" name="TextBox 92">
            <a:extLst>
              <a:ext uri="{FF2B5EF4-FFF2-40B4-BE49-F238E27FC236}">
                <a16:creationId xmlns:a16="http://schemas.microsoft.com/office/drawing/2014/main" id="{53D35437-D83C-5EA2-A896-ABB5EDC0E57A}"/>
              </a:ext>
            </a:extLst>
          </p:cNvPr>
          <p:cNvSpPr txBox="1">
            <a:spLocks/>
          </p:cNvSpPr>
          <p:nvPr>
            <p:custDataLst>
              <p:tags r:id="rId23"/>
            </p:custDataLst>
          </p:nvPr>
        </p:nvSpPr>
        <p:spPr>
          <a:xfrm>
            <a:off x="594424" y="5486994"/>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14</a:t>
            </a:r>
          </a:p>
        </p:txBody>
      </p:sp>
      <p:sp>
        <p:nvSpPr>
          <p:cNvPr id="94" name="TextBox 93">
            <a:extLst>
              <a:ext uri="{FF2B5EF4-FFF2-40B4-BE49-F238E27FC236}">
                <a16:creationId xmlns:a16="http://schemas.microsoft.com/office/drawing/2014/main" id="{899C9D30-B03E-C7BF-49F8-2BF3BC9C18DF}"/>
              </a:ext>
            </a:extLst>
          </p:cNvPr>
          <p:cNvSpPr txBox="1">
            <a:spLocks/>
          </p:cNvSpPr>
          <p:nvPr>
            <p:custDataLst>
              <p:tags r:id="rId24"/>
            </p:custDataLst>
          </p:nvPr>
        </p:nvSpPr>
        <p:spPr>
          <a:xfrm>
            <a:off x="855576" y="5486994"/>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Co-ops</a:t>
            </a:r>
          </a:p>
        </p:txBody>
      </p:sp>
      <p:sp>
        <p:nvSpPr>
          <p:cNvPr id="95" name="TextBox 94">
            <a:extLst>
              <a:ext uri="{FF2B5EF4-FFF2-40B4-BE49-F238E27FC236}">
                <a16:creationId xmlns:a16="http://schemas.microsoft.com/office/drawing/2014/main" id="{67BAE8BD-1347-9F8C-521B-D447187EC0C7}"/>
              </a:ext>
            </a:extLst>
          </p:cNvPr>
          <p:cNvSpPr txBox="1">
            <a:spLocks/>
          </p:cNvSpPr>
          <p:nvPr>
            <p:custDataLst>
              <p:tags r:id="rId25"/>
            </p:custDataLst>
          </p:nvPr>
        </p:nvSpPr>
        <p:spPr>
          <a:xfrm>
            <a:off x="594424" y="5169762"/>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13</a:t>
            </a:r>
          </a:p>
        </p:txBody>
      </p:sp>
      <p:sp>
        <p:nvSpPr>
          <p:cNvPr id="96" name="TextBox 95">
            <a:extLst>
              <a:ext uri="{FF2B5EF4-FFF2-40B4-BE49-F238E27FC236}">
                <a16:creationId xmlns:a16="http://schemas.microsoft.com/office/drawing/2014/main" id="{83418B8D-2B97-8936-723D-C1F070B6BADD}"/>
              </a:ext>
            </a:extLst>
          </p:cNvPr>
          <p:cNvSpPr txBox="1">
            <a:spLocks/>
          </p:cNvSpPr>
          <p:nvPr>
            <p:custDataLst>
              <p:tags r:id="rId26"/>
            </p:custDataLst>
          </p:nvPr>
        </p:nvSpPr>
        <p:spPr>
          <a:xfrm>
            <a:off x="855576" y="5169762"/>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OUs</a:t>
            </a:r>
          </a:p>
        </p:txBody>
      </p:sp>
      <p:sp>
        <p:nvSpPr>
          <p:cNvPr id="97" name="TextBox 96">
            <a:extLst>
              <a:ext uri="{FF2B5EF4-FFF2-40B4-BE49-F238E27FC236}">
                <a16:creationId xmlns:a16="http://schemas.microsoft.com/office/drawing/2014/main" id="{6B196DC1-9DC1-A29A-BBD2-DAD7E96C3D4D}"/>
              </a:ext>
            </a:extLst>
          </p:cNvPr>
          <p:cNvSpPr txBox="1">
            <a:spLocks/>
          </p:cNvSpPr>
          <p:nvPr>
            <p:custDataLst>
              <p:tags r:id="rId27"/>
            </p:custDataLst>
          </p:nvPr>
        </p:nvSpPr>
        <p:spPr>
          <a:xfrm>
            <a:off x="594424" y="4850175"/>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12</a:t>
            </a:r>
          </a:p>
        </p:txBody>
      </p:sp>
      <p:sp>
        <p:nvSpPr>
          <p:cNvPr id="98" name="TextBox 97">
            <a:extLst>
              <a:ext uri="{FF2B5EF4-FFF2-40B4-BE49-F238E27FC236}">
                <a16:creationId xmlns:a16="http://schemas.microsoft.com/office/drawing/2014/main" id="{37CB05CC-F0F5-F5F3-5CD5-177A8FBD3830}"/>
              </a:ext>
            </a:extLst>
          </p:cNvPr>
          <p:cNvSpPr txBox="1">
            <a:spLocks/>
          </p:cNvSpPr>
          <p:nvPr>
            <p:custDataLst>
              <p:tags r:id="rId28"/>
            </p:custDataLst>
          </p:nvPr>
        </p:nvSpPr>
        <p:spPr>
          <a:xfrm>
            <a:off x="855576" y="4850175"/>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ependent generators</a:t>
            </a:r>
          </a:p>
        </p:txBody>
      </p:sp>
      <p:sp>
        <p:nvSpPr>
          <p:cNvPr id="99" name="TextBox 98">
            <a:extLst>
              <a:ext uri="{FF2B5EF4-FFF2-40B4-BE49-F238E27FC236}">
                <a16:creationId xmlns:a16="http://schemas.microsoft.com/office/drawing/2014/main" id="{71A067E3-B7D8-72CF-215C-4126044283A0}"/>
              </a:ext>
            </a:extLst>
          </p:cNvPr>
          <p:cNvSpPr txBox="1">
            <a:spLocks/>
          </p:cNvSpPr>
          <p:nvPr>
            <p:custDataLst>
              <p:tags r:id="rId29"/>
            </p:custDataLst>
          </p:nvPr>
        </p:nvSpPr>
        <p:spPr>
          <a:xfrm>
            <a:off x="594424" y="4528235"/>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11</a:t>
            </a:r>
          </a:p>
        </p:txBody>
      </p:sp>
      <p:sp>
        <p:nvSpPr>
          <p:cNvPr id="100" name="TextBox 99">
            <a:extLst>
              <a:ext uri="{FF2B5EF4-FFF2-40B4-BE49-F238E27FC236}">
                <a16:creationId xmlns:a16="http://schemas.microsoft.com/office/drawing/2014/main" id="{C6A45892-D8F6-137B-A805-F4595FF897B8}"/>
              </a:ext>
            </a:extLst>
          </p:cNvPr>
          <p:cNvSpPr txBox="1">
            <a:spLocks/>
          </p:cNvSpPr>
          <p:nvPr>
            <p:custDataLst>
              <p:tags r:id="rId30"/>
            </p:custDataLst>
          </p:nvPr>
        </p:nvSpPr>
        <p:spPr>
          <a:xfrm>
            <a:off x="855576" y="4528235"/>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unis</a:t>
            </a:r>
          </a:p>
        </p:txBody>
      </p:sp>
      <p:sp>
        <p:nvSpPr>
          <p:cNvPr id="101" name="TextBox 100">
            <a:extLst>
              <a:ext uri="{FF2B5EF4-FFF2-40B4-BE49-F238E27FC236}">
                <a16:creationId xmlns:a16="http://schemas.microsoft.com/office/drawing/2014/main" id="{0FC9345A-D69B-D729-65D0-715AED73570C}"/>
              </a:ext>
            </a:extLst>
          </p:cNvPr>
          <p:cNvSpPr txBox="1">
            <a:spLocks/>
          </p:cNvSpPr>
          <p:nvPr>
            <p:custDataLst>
              <p:tags r:id="rId31"/>
            </p:custDataLst>
          </p:nvPr>
        </p:nvSpPr>
        <p:spPr>
          <a:xfrm>
            <a:off x="594424" y="4203942"/>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10</a:t>
            </a:r>
          </a:p>
        </p:txBody>
      </p:sp>
      <p:sp>
        <p:nvSpPr>
          <p:cNvPr id="102" name="TextBox 101">
            <a:extLst>
              <a:ext uri="{FF2B5EF4-FFF2-40B4-BE49-F238E27FC236}">
                <a16:creationId xmlns:a16="http://schemas.microsoft.com/office/drawing/2014/main" id="{5480AB92-F6CD-6095-ACFF-5E15F37B7CCA}"/>
              </a:ext>
            </a:extLst>
          </p:cNvPr>
          <p:cNvSpPr txBox="1">
            <a:spLocks/>
          </p:cNvSpPr>
          <p:nvPr>
            <p:custDataLst>
              <p:tags r:id="rId32"/>
            </p:custDataLst>
          </p:nvPr>
        </p:nvSpPr>
        <p:spPr>
          <a:xfrm>
            <a:off x="855576" y="4203942"/>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Developers</a:t>
            </a:r>
          </a:p>
        </p:txBody>
      </p:sp>
      <p:sp>
        <p:nvSpPr>
          <p:cNvPr id="103" name="TextBox 102">
            <a:extLst>
              <a:ext uri="{FF2B5EF4-FFF2-40B4-BE49-F238E27FC236}">
                <a16:creationId xmlns:a16="http://schemas.microsoft.com/office/drawing/2014/main" id="{17EF1DA7-28D5-FF79-BBC5-D132702DF555}"/>
              </a:ext>
            </a:extLst>
          </p:cNvPr>
          <p:cNvSpPr txBox="1">
            <a:spLocks/>
          </p:cNvSpPr>
          <p:nvPr>
            <p:custDataLst>
              <p:tags r:id="rId33"/>
            </p:custDataLst>
          </p:nvPr>
        </p:nvSpPr>
        <p:spPr>
          <a:xfrm>
            <a:off x="594424" y="3877296"/>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9</a:t>
            </a:r>
          </a:p>
        </p:txBody>
      </p:sp>
      <p:sp>
        <p:nvSpPr>
          <p:cNvPr id="104" name="TextBox 103">
            <a:extLst>
              <a:ext uri="{FF2B5EF4-FFF2-40B4-BE49-F238E27FC236}">
                <a16:creationId xmlns:a16="http://schemas.microsoft.com/office/drawing/2014/main" id="{BAE2F13A-6631-32DC-861D-94F7D7A418FD}"/>
              </a:ext>
            </a:extLst>
          </p:cNvPr>
          <p:cNvSpPr txBox="1">
            <a:spLocks/>
          </p:cNvSpPr>
          <p:nvPr>
            <p:custDataLst>
              <p:tags r:id="rId34"/>
            </p:custDataLst>
          </p:nvPr>
        </p:nvSpPr>
        <p:spPr>
          <a:xfrm>
            <a:off x="855576" y="3877296"/>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Colocators</a:t>
            </a:r>
          </a:p>
        </p:txBody>
      </p:sp>
      <p:sp>
        <p:nvSpPr>
          <p:cNvPr id="105" name="TextBox 104">
            <a:extLst>
              <a:ext uri="{FF2B5EF4-FFF2-40B4-BE49-F238E27FC236}">
                <a16:creationId xmlns:a16="http://schemas.microsoft.com/office/drawing/2014/main" id="{0669554A-6625-B57D-59CF-7F8F7EE63842}"/>
              </a:ext>
            </a:extLst>
          </p:cNvPr>
          <p:cNvSpPr txBox="1">
            <a:spLocks/>
          </p:cNvSpPr>
          <p:nvPr>
            <p:custDataLst>
              <p:tags r:id="rId35"/>
            </p:custDataLst>
          </p:nvPr>
        </p:nvSpPr>
        <p:spPr>
          <a:xfrm>
            <a:off x="594424" y="3548297"/>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8</a:t>
            </a:r>
          </a:p>
        </p:txBody>
      </p:sp>
      <p:sp>
        <p:nvSpPr>
          <p:cNvPr id="106" name="TextBox 105">
            <a:extLst>
              <a:ext uri="{FF2B5EF4-FFF2-40B4-BE49-F238E27FC236}">
                <a16:creationId xmlns:a16="http://schemas.microsoft.com/office/drawing/2014/main" id="{A16E910C-FB67-2771-D267-0A0925ACD300}"/>
              </a:ext>
            </a:extLst>
          </p:cNvPr>
          <p:cNvSpPr txBox="1">
            <a:spLocks/>
          </p:cNvSpPr>
          <p:nvPr>
            <p:custDataLst>
              <p:tags r:id="rId36"/>
            </p:custDataLst>
          </p:nvPr>
        </p:nvSpPr>
        <p:spPr>
          <a:xfrm>
            <a:off x="855576" y="3548297"/>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Colocators</a:t>
            </a:r>
          </a:p>
        </p:txBody>
      </p:sp>
      <p:sp>
        <p:nvSpPr>
          <p:cNvPr id="107" name="TextBox 106">
            <a:extLst>
              <a:ext uri="{FF2B5EF4-FFF2-40B4-BE49-F238E27FC236}">
                <a16:creationId xmlns:a16="http://schemas.microsoft.com/office/drawing/2014/main" id="{F3C6C098-CADE-410C-F921-85DB252BA93E}"/>
              </a:ext>
            </a:extLst>
          </p:cNvPr>
          <p:cNvSpPr txBox="1">
            <a:spLocks/>
          </p:cNvSpPr>
          <p:nvPr>
            <p:custDataLst>
              <p:tags r:id="rId37"/>
            </p:custDataLst>
          </p:nvPr>
        </p:nvSpPr>
        <p:spPr>
          <a:xfrm>
            <a:off x="3720002" y="1276485"/>
            <a:ext cx="2219592" cy="184660"/>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Google</a:t>
            </a:r>
          </a:p>
        </p:txBody>
      </p:sp>
      <p:sp>
        <p:nvSpPr>
          <p:cNvPr id="211" name="TextBox 210">
            <a:extLst>
              <a:ext uri="{FF2B5EF4-FFF2-40B4-BE49-F238E27FC236}">
                <a16:creationId xmlns:a16="http://schemas.microsoft.com/office/drawing/2014/main" id="{092828D5-BD33-7275-17D0-A4C0E8906639}"/>
              </a:ext>
            </a:extLst>
          </p:cNvPr>
          <p:cNvSpPr txBox="1">
            <a:spLocks/>
          </p:cNvSpPr>
          <p:nvPr>
            <p:custDataLst>
              <p:tags r:id="rId38"/>
            </p:custDataLst>
          </p:nvPr>
        </p:nvSpPr>
        <p:spPr>
          <a:xfrm>
            <a:off x="3720002" y="1599895"/>
            <a:ext cx="2219592" cy="184660"/>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Lancium Energy</a:t>
            </a:r>
          </a:p>
        </p:txBody>
      </p:sp>
      <p:sp>
        <p:nvSpPr>
          <p:cNvPr id="213" name="TextBox 212">
            <a:extLst>
              <a:ext uri="{FF2B5EF4-FFF2-40B4-BE49-F238E27FC236}">
                <a16:creationId xmlns:a16="http://schemas.microsoft.com/office/drawing/2014/main" id="{0980E077-8BE5-1730-791B-7D97FA0ACEB5}"/>
              </a:ext>
            </a:extLst>
          </p:cNvPr>
          <p:cNvSpPr txBox="1">
            <a:spLocks/>
          </p:cNvSpPr>
          <p:nvPr>
            <p:custDataLst>
              <p:tags r:id="rId39"/>
            </p:custDataLst>
          </p:nvPr>
        </p:nvSpPr>
        <p:spPr>
          <a:xfrm>
            <a:off x="3720002" y="1923305"/>
            <a:ext cx="2219592" cy="184660"/>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Black Mountain</a:t>
            </a:r>
          </a:p>
        </p:txBody>
      </p:sp>
      <p:sp>
        <p:nvSpPr>
          <p:cNvPr id="214" name="TextBox 213">
            <a:extLst>
              <a:ext uri="{FF2B5EF4-FFF2-40B4-BE49-F238E27FC236}">
                <a16:creationId xmlns:a16="http://schemas.microsoft.com/office/drawing/2014/main" id="{19A24914-8B94-9E6E-7255-94E37B1CE957}"/>
              </a:ext>
            </a:extLst>
          </p:cNvPr>
          <p:cNvSpPr txBox="1">
            <a:spLocks/>
          </p:cNvSpPr>
          <p:nvPr>
            <p:custDataLst>
              <p:tags r:id="rId40"/>
            </p:custDataLst>
          </p:nvPr>
        </p:nvSpPr>
        <p:spPr>
          <a:xfrm>
            <a:off x="3720002" y="2246715"/>
            <a:ext cx="2219592" cy="184660"/>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Texas-New Mexico Power</a:t>
            </a:r>
          </a:p>
        </p:txBody>
      </p:sp>
      <p:sp>
        <p:nvSpPr>
          <p:cNvPr id="215" name="TextBox 214">
            <a:extLst>
              <a:ext uri="{FF2B5EF4-FFF2-40B4-BE49-F238E27FC236}">
                <a16:creationId xmlns:a16="http://schemas.microsoft.com/office/drawing/2014/main" id="{4148CC26-B0B3-CD6F-703E-109C31D453D1}"/>
              </a:ext>
            </a:extLst>
          </p:cNvPr>
          <p:cNvSpPr txBox="1">
            <a:spLocks/>
          </p:cNvSpPr>
          <p:nvPr>
            <p:custDataLst>
              <p:tags r:id="rId41"/>
            </p:custDataLst>
          </p:nvPr>
        </p:nvSpPr>
        <p:spPr>
          <a:xfrm>
            <a:off x="3720002" y="2570125"/>
            <a:ext cx="2219592" cy="184660"/>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AEP Texas</a:t>
            </a:r>
          </a:p>
        </p:txBody>
      </p:sp>
      <p:sp>
        <p:nvSpPr>
          <p:cNvPr id="216" name="TextBox 215">
            <a:extLst>
              <a:ext uri="{FF2B5EF4-FFF2-40B4-BE49-F238E27FC236}">
                <a16:creationId xmlns:a16="http://schemas.microsoft.com/office/drawing/2014/main" id="{C4E9FEAF-4DA2-1514-B079-82BD50DC8D36}"/>
              </a:ext>
            </a:extLst>
          </p:cNvPr>
          <p:cNvSpPr txBox="1">
            <a:spLocks/>
          </p:cNvSpPr>
          <p:nvPr>
            <p:custDataLst>
              <p:tags r:id="rId42"/>
            </p:custDataLst>
          </p:nvPr>
        </p:nvSpPr>
        <p:spPr>
          <a:xfrm>
            <a:off x="3720002" y="2893535"/>
            <a:ext cx="2219592" cy="184660"/>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Skybox Datacenters</a:t>
            </a:r>
          </a:p>
        </p:txBody>
      </p:sp>
      <p:sp>
        <p:nvSpPr>
          <p:cNvPr id="217" name="TextBox 216">
            <a:extLst>
              <a:ext uri="{FF2B5EF4-FFF2-40B4-BE49-F238E27FC236}">
                <a16:creationId xmlns:a16="http://schemas.microsoft.com/office/drawing/2014/main" id="{D44139D5-2B7F-6398-ED7A-F2C1C845210E}"/>
              </a:ext>
            </a:extLst>
          </p:cNvPr>
          <p:cNvSpPr txBox="1">
            <a:spLocks/>
          </p:cNvSpPr>
          <p:nvPr>
            <p:custDataLst>
              <p:tags r:id="rId43"/>
            </p:custDataLst>
          </p:nvPr>
        </p:nvSpPr>
        <p:spPr>
          <a:xfrm>
            <a:off x="3720002" y="3216945"/>
            <a:ext cx="2219592" cy="184660"/>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eta</a:t>
            </a:r>
          </a:p>
        </p:txBody>
      </p:sp>
      <p:sp>
        <p:nvSpPr>
          <p:cNvPr id="218" name="TextBox 217">
            <a:extLst>
              <a:ext uri="{FF2B5EF4-FFF2-40B4-BE49-F238E27FC236}">
                <a16:creationId xmlns:a16="http://schemas.microsoft.com/office/drawing/2014/main" id="{9E31C740-2CEF-E057-00C3-F50D53D1B0D0}"/>
              </a:ext>
            </a:extLst>
          </p:cNvPr>
          <p:cNvSpPr txBox="1">
            <a:spLocks/>
          </p:cNvSpPr>
          <p:nvPr>
            <p:custDataLst>
              <p:tags r:id="rId44"/>
            </p:custDataLst>
          </p:nvPr>
        </p:nvSpPr>
        <p:spPr>
          <a:xfrm>
            <a:off x="3720002" y="5801876"/>
            <a:ext cx="2219592" cy="184660"/>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Amazon</a:t>
            </a:r>
          </a:p>
        </p:txBody>
      </p:sp>
      <p:sp>
        <p:nvSpPr>
          <p:cNvPr id="219" name="TextBox 218">
            <a:extLst>
              <a:ext uri="{FF2B5EF4-FFF2-40B4-BE49-F238E27FC236}">
                <a16:creationId xmlns:a16="http://schemas.microsoft.com/office/drawing/2014/main" id="{0FB6AB87-26ED-30AD-A244-1961C499002D}"/>
              </a:ext>
            </a:extLst>
          </p:cNvPr>
          <p:cNvSpPr txBox="1">
            <a:spLocks/>
          </p:cNvSpPr>
          <p:nvPr>
            <p:custDataLst>
              <p:tags r:id="rId45"/>
            </p:custDataLst>
          </p:nvPr>
        </p:nvSpPr>
        <p:spPr>
          <a:xfrm>
            <a:off x="3720002" y="5486994"/>
            <a:ext cx="2219592" cy="184660"/>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ultiple</a:t>
            </a:r>
            <a:r>
              <a:rPr lang="en-US" sz="1200" baseline="30000"/>
              <a:t>2</a:t>
            </a:r>
            <a:endParaRPr lang="en-US" sz="1200"/>
          </a:p>
        </p:txBody>
      </p:sp>
      <p:sp>
        <p:nvSpPr>
          <p:cNvPr id="220" name="TextBox 219">
            <a:extLst>
              <a:ext uri="{FF2B5EF4-FFF2-40B4-BE49-F238E27FC236}">
                <a16:creationId xmlns:a16="http://schemas.microsoft.com/office/drawing/2014/main" id="{347DE79C-2B3A-8D8B-9027-4E7688E3A82B}"/>
              </a:ext>
            </a:extLst>
          </p:cNvPr>
          <p:cNvSpPr txBox="1">
            <a:spLocks/>
          </p:cNvSpPr>
          <p:nvPr>
            <p:custDataLst>
              <p:tags r:id="rId46"/>
            </p:custDataLst>
          </p:nvPr>
        </p:nvSpPr>
        <p:spPr>
          <a:xfrm>
            <a:off x="3720002" y="5169762"/>
            <a:ext cx="2219592" cy="184660"/>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CenterPoint Energy</a:t>
            </a:r>
          </a:p>
        </p:txBody>
      </p:sp>
      <p:sp>
        <p:nvSpPr>
          <p:cNvPr id="221" name="TextBox 220">
            <a:extLst>
              <a:ext uri="{FF2B5EF4-FFF2-40B4-BE49-F238E27FC236}">
                <a16:creationId xmlns:a16="http://schemas.microsoft.com/office/drawing/2014/main" id="{35F7D3A4-B46A-F8A1-078A-818EA4F85433}"/>
              </a:ext>
            </a:extLst>
          </p:cNvPr>
          <p:cNvSpPr txBox="1">
            <a:spLocks/>
          </p:cNvSpPr>
          <p:nvPr>
            <p:custDataLst>
              <p:tags r:id="rId47"/>
            </p:custDataLst>
          </p:nvPr>
        </p:nvSpPr>
        <p:spPr>
          <a:xfrm>
            <a:off x="3720002" y="4850175"/>
            <a:ext cx="2219592" cy="184660"/>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err="1"/>
              <a:t>Vistra</a:t>
            </a:r>
            <a:r>
              <a:rPr lang="en-US" sz="1200"/>
              <a:t>/Luminant</a:t>
            </a:r>
          </a:p>
        </p:txBody>
      </p:sp>
      <p:sp>
        <p:nvSpPr>
          <p:cNvPr id="222" name="TextBox 221">
            <a:extLst>
              <a:ext uri="{FF2B5EF4-FFF2-40B4-BE49-F238E27FC236}">
                <a16:creationId xmlns:a16="http://schemas.microsoft.com/office/drawing/2014/main" id="{09E7481C-7A76-0AE5-345B-96879F59C029}"/>
              </a:ext>
            </a:extLst>
          </p:cNvPr>
          <p:cNvSpPr txBox="1">
            <a:spLocks/>
          </p:cNvSpPr>
          <p:nvPr>
            <p:custDataLst>
              <p:tags r:id="rId48"/>
            </p:custDataLst>
          </p:nvPr>
        </p:nvSpPr>
        <p:spPr>
          <a:xfrm>
            <a:off x="3720002" y="4528235"/>
            <a:ext cx="2219592" cy="184660"/>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ultiple</a:t>
            </a:r>
            <a:r>
              <a:rPr lang="en-US" sz="1200" baseline="30000"/>
              <a:t>1</a:t>
            </a:r>
            <a:endParaRPr lang="en-US" sz="1200"/>
          </a:p>
        </p:txBody>
      </p:sp>
      <p:sp>
        <p:nvSpPr>
          <p:cNvPr id="223" name="TextBox 222">
            <a:extLst>
              <a:ext uri="{FF2B5EF4-FFF2-40B4-BE49-F238E27FC236}">
                <a16:creationId xmlns:a16="http://schemas.microsoft.com/office/drawing/2014/main" id="{5F7FBC35-EBB0-6304-2DC3-B340793A8EEA}"/>
              </a:ext>
            </a:extLst>
          </p:cNvPr>
          <p:cNvSpPr txBox="1">
            <a:spLocks/>
          </p:cNvSpPr>
          <p:nvPr>
            <p:custDataLst>
              <p:tags r:id="rId49"/>
            </p:custDataLst>
          </p:nvPr>
        </p:nvSpPr>
        <p:spPr>
          <a:xfrm>
            <a:off x="3720002" y="4203942"/>
            <a:ext cx="2219592" cy="184660"/>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Crusoe Energy Systems</a:t>
            </a:r>
            <a:endParaRPr lang="en-US" sz="1200" baseline="30000"/>
          </a:p>
        </p:txBody>
      </p:sp>
      <p:sp>
        <p:nvSpPr>
          <p:cNvPr id="224" name="TextBox 223">
            <a:extLst>
              <a:ext uri="{FF2B5EF4-FFF2-40B4-BE49-F238E27FC236}">
                <a16:creationId xmlns:a16="http://schemas.microsoft.com/office/drawing/2014/main" id="{4A48EC55-C5E7-E1B7-0711-CFAF838C2107}"/>
              </a:ext>
            </a:extLst>
          </p:cNvPr>
          <p:cNvSpPr txBox="1">
            <a:spLocks/>
          </p:cNvSpPr>
          <p:nvPr>
            <p:custDataLst>
              <p:tags r:id="rId50"/>
            </p:custDataLst>
          </p:nvPr>
        </p:nvSpPr>
        <p:spPr>
          <a:xfrm>
            <a:off x="3720002" y="3877296"/>
            <a:ext cx="2219592" cy="184660"/>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Compass Datacenters</a:t>
            </a:r>
          </a:p>
        </p:txBody>
      </p:sp>
      <p:sp>
        <p:nvSpPr>
          <p:cNvPr id="225" name="TextBox 224">
            <a:extLst>
              <a:ext uri="{FF2B5EF4-FFF2-40B4-BE49-F238E27FC236}">
                <a16:creationId xmlns:a16="http://schemas.microsoft.com/office/drawing/2014/main" id="{9FDF8A8D-D394-81B5-FBA7-B9499FEB391B}"/>
              </a:ext>
            </a:extLst>
          </p:cNvPr>
          <p:cNvSpPr txBox="1">
            <a:spLocks/>
          </p:cNvSpPr>
          <p:nvPr>
            <p:custDataLst>
              <p:tags r:id="rId51"/>
            </p:custDataLst>
          </p:nvPr>
        </p:nvSpPr>
        <p:spPr>
          <a:xfrm>
            <a:off x="3720002" y="3548297"/>
            <a:ext cx="2219592" cy="184660"/>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Core Scientific</a:t>
            </a:r>
          </a:p>
        </p:txBody>
      </p:sp>
      <p:sp>
        <p:nvSpPr>
          <p:cNvPr id="226" name="TextBox 225">
            <a:extLst>
              <a:ext uri="{FF2B5EF4-FFF2-40B4-BE49-F238E27FC236}">
                <a16:creationId xmlns:a16="http://schemas.microsoft.com/office/drawing/2014/main" id="{69720636-26BD-1BBA-0C5F-6FC739F5BFDF}"/>
              </a:ext>
            </a:extLst>
          </p:cNvPr>
          <p:cNvSpPr txBox="1">
            <a:spLocks/>
          </p:cNvSpPr>
          <p:nvPr>
            <p:custDataLst>
              <p:tags r:id="rId52"/>
            </p:custDataLst>
          </p:nvPr>
        </p:nvSpPr>
        <p:spPr>
          <a:xfrm>
            <a:off x="2762302" y="1276485"/>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227" name="TextBox 226">
            <a:extLst>
              <a:ext uri="{FF2B5EF4-FFF2-40B4-BE49-F238E27FC236}">
                <a16:creationId xmlns:a16="http://schemas.microsoft.com/office/drawing/2014/main" id="{DE3809EB-173A-3050-4278-043499838F21}"/>
              </a:ext>
            </a:extLst>
          </p:cNvPr>
          <p:cNvSpPr txBox="1">
            <a:spLocks/>
          </p:cNvSpPr>
          <p:nvPr>
            <p:custDataLst>
              <p:tags r:id="rId53"/>
            </p:custDataLst>
          </p:nvPr>
        </p:nvSpPr>
        <p:spPr>
          <a:xfrm>
            <a:off x="2762302" y="1598803"/>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228" name="TextBox 227">
            <a:extLst>
              <a:ext uri="{FF2B5EF4-FFF2-40B4-BE49-F238E27FC236}">
                <a16:creationId xmlns:a16="http://schemas.microsoft.com/office/drawing/2014/main" id="{49A7E88F-D84E-EF93-643D-C99FDA5D5336}"/>
              </a:ext>
            </a:extLst>
          </p:cNvPr>
          <p:cNvSpPr txBox="1">
            <a:spLocks/>
          </p:cNvSpPr>
          <p:nvPr>
            <p:custDataLst>
              <p:tags r:id="rId54"/>
            </p:custDataLst>
          </p:nvPr>
        </p:nvSpPr>
        <p:spPr>
          <a:xfrm>
            <a:off x="2762302" y="1921121"/>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234" name="TextBox 233">
            <a:extLst>
              <a:ext uri="{FF2B5EF4-FFF2-40B4-BE49-F238E27FC236}">
                <a16:creationId xmlns:a16="http://schemas.microsoft.com/office/drawing/2014/main" id="{DDE88DEE-B1FC-94AE-71A9-1F032703BFDE}"/>
              </a:ext>
            </a:extLst>
          </p:cNvPr>
          <p:cNvSpPr txBox="1">
            <a:spLocks/>
          </p:cNvSpPr>
          <p:nvPr>
            <p:custDataLst>
              <p:tags r:id="rId55"/>
            </p:custDataLst>
          </p:nvPr>
        </p:nvSpPr>
        <p:spPr>
          <a:xfrm>
            <a:off x="2762302" y="5466619"/>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Group</a:t>
            </a:r>
            <a:r>
              <a:rPr lang="en-US" sz="1200" baseline="30000"/>
              <a:t>3</a:t>
            </a:r>
            <a:endParaRPr lang="en-US" sz="1200"/>
          </a:p>
        </p:txBody>
      </p:sp>
      <p:sp>
        <p:nvSpPr>
          <p:cNvPr id="237" name="TextBox 236">
            <a:extLst>
              <a:ext uri="{FF2B5EF4-FFF2-40B4-BE49-F238E27FC236}">
                <a16:creationId xmlns:a16="http://schemas.microsoft.com/office/drawing/2014/main" id="{3629E2CF-82CD-5631-C439-43F43D0D7823}"/>
              </a:ext>
            </a:extLst>
          </p:cNvPr>
          <p:cNvSpPr txBox="1">
            <a:spLocks/>
          </p:cNvSpPr>
          <p:nvPr>
            <p:custDataLst>
              <p:tags r:id="rId56"/>
            </p:custDataLst>
          </p:nvPr>
        </p:nvSpPr>
        <p:spPr>
          <a:xfrm>
            <a:off x="2762302" y="4499665"/>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Group</a:t>
            </a:r>
            <a:r>
              <a:rPr lang="en-US" sz="1200" baseline="30000"/>
              <a:t>3</a:t>
            </a:r>
            <a:endParaRPr lang="en-US" sz="1200"/>
          </a:p>
        </p:txBody>
      </p:sp>
      <p:sp>
        <p:nvSpPr>
          <p:cNvPr id="273" name="2. Slide Title">
            <a:extLst>
              <a:ext uri="{FF2B5EF4-FFF2-40B4-BE49-F238E27FC236}">
                <a16:creationId xmlns:a16="http://schemas.microsoft.com/office/drawing/2014/main" id="{E43F317E-DBCE-2C63-A14A-AD42F3759FB1}"/>
              </a:ext>
            </a:extLst>
          </p:cNvPr>
          <p:cNvSpPr>
            <a:spLocks noGrp="1"/>
          </p:cNvSpPr>
          <p:nvPr>
            <p:ph type="title"/>
            <p:custDataLst>
              <p:tags r:id="rId57"/>
            </p:custDataLst>
          </p:nvPr>
        </p:nvSpPr>
        <p:spPr>
          <a:xfrm>
            <a:off x="554736" y="326214"/>
            <a:ext cx="11082528" cy="384721"/>
          </a:xfrm>
        </p:spPr>
        <p:txBody>
          <a:bodyPr vert="horz">
            <a:spAutoFit/>
          </a:bodyPr>
          <a:lstStyle/>
          <a:p>
            <a:r>
              <a:rPr lang="en-US"/>
              <a:t>Stakeholder engagement master list (1/2)</a:t>
            </a:r>
          </a:p>
        </p:txBody>
      </p:sp>
      <p:sp>
        <p:nvSpPr>
          <p:cNvPr id="3" name="4. Footnote">
            <a:extLst>
              <a:ext uri="{FF2B5EF4-FFF2-40B4-BE49-F238E27FC236}">
                <a16:creationId xmlns:a16="http://schemas.microsoft.com/office/drawing/2014/main" id="{415F2184-4233-18DB-E654-7835B61DFD88}"/>
              </a:ext>
            </a:extLst>
          </p:cNvPr>
          <p:cNvSpPr txBox="1"/>
          <p:nvPr>
            <p:custDataLst>
              <p:tags r:id="rId58"/>
            </p:custDataLst>
          </p:nvPr>
        </p:nvSpPr>
        <p:spPr>
          <a:xfrm>
            <a:off x="2127189" y="6079216"/>
            <a:ext cx="9553096" cy="369332"/>
          </a:xfrm>
          <a:prstGeom prst="rect">
            <a:avLst/>
          </a:prstGeom>
          <a:noFill/>
        </p:spPr>
        <p:txBody>
          <a:bodyPr vert="horz" wrap="square" lIns="0" tIns="0" rIns="0" bIns="0" rtlCol="0" anchor="b" anchorCtr="0">
            <a:spAutoFit/>
          </a:bodyPr>
          <a:lstStyle/>
          <a:p>
            <a:pPr marL="9525" indent="-19050"/>
            <a:r>
              <a:rPr lang="en-US" sz="800"/>
              <a:t>1. Austin Energy, CPS Energy, Denton Municipal Electric, and Garland Power &amp; Light System  |  2. Golden Spread Electric Cooperative, Brazos Electric Power Cooperative, Texas Electric Co-op Association, South Texas Electric Cooperative Inc  |  </a:t>
            </a:r>
            <a:r>
              <a:rPr lang="en-US" sz="800">
                <a:solidFill>
                  <a:srgbClr val="2D3338"/>
                </a:solidFill>
              </a:rPr>
              <a:t>3. Single session with multiple organizations from the same stakeholder group(s) | 4</a:t>
            </a:r>
            <a:r>
              <a:rPr lang="en-US" sz="800"/>
              <a:t>. City of Dallas, City of Eastland, OPUC, and Beth Garza (Residential Consumer Rep)  |  5. TCPA, Constellation, Hull Street Energy, Liberty Power Innovations </a:t>
            </a:r>
            <a:endParaRPr lang="en-US" sz="800">
              <a:solidFill>
                <a:srgbClr val="2D3338"/>
              </a:solidFill>
            </a:endParaRPr>
          </a:p>
        </p:txBody>
      </p:sp>
      <p:sp>
        <p:nvSpPr>
          <p:cNvPr id="2" name="TextBox 1">
            <a:extLst>
              <a:ext uri="{FF2B5EF4-FFF2-40B4-BE49-F238E27FC236}">
                <a16:creationId xmlns:a16="http://schemas.microsoft.com/office/drawing/2014/main" id="{7E0948D5-D21A-F0FF-18F4-2C1E026F9826}"/>
              </a:ext>
            </a:extLst>
          </p:cNvPr>
          <p:cNvSpPr txBox="1">
            <a:spLocks/>
          </p:cNvSpPr>
          <p:nvPr>
            <p:custDataLst>
              <p:tags r:id="rId59"/>
            </p:custDataLst>
          </p:nvPr>
        </p:nvSpPr>
        <p:spPr>
          <a:xfrm>
            <a:off x="2762302" y="2243439"/>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4" name="TextBox 3">
            <a:extLst>
              <a:ext uri="{FF2B5EF4-FFF2-40B4-BE49-F238E27FC236}">
                <a16:creationId xmlns:a16="http://schemas.microsoft.com/office/drawing/2014/main" id="{A8FAF3E2-8F70-56CE-0E78-6E378B7F4431}"/>
              </a:ext>
            </a:extLst>
          </p:cNvPr>
          <p:cNvSpPr txBox="1">
            <a:spLocks/>
          </p:cNvSpPr>
          <p:nvPr>
            <p:custDataLst>
              <p:tags r:id="rId60"/>
            </p:custDataLst>
          </p:nvPr>
        </p:nvSpPr>
        <p:spPr>
          <a:xfrm>
            <a:off x="2762302" y="2565757"/>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5" name="TextBox 4">
            <a:extLst>
              <a:ext uri="{FF2B5EF4-FFF2-40B4-BE49-F238E27FC236}">
                <a16:creationId xmlns:a16="http://schemas.microsoft.com/office/drawing/2014/main" id="{B5BEA7FB-2D69-D3EB-F7D7-078210C4725D}"/>
              </a:ext>
            </a:extLst>
          </p:cNvPr>
          <p:cNvSpPr txBox="1">
            <a:spLocks/>
          </p:cNvSpPr>
          <p:nvPr>
            <p:custDataLst>
              <p:tags r:id="rId61"/>
            </p:custDataLst>
          </p:nvPr>
        </p:nvSpPr>
        <p:spPr>
          <a:xfrm>
            <a:off x="2762302" y="2888075"/>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6" name="TextBox 5">
            <a:extLst>
              <a:ext uri="{FF2B5EF4-FFF2-40B4-BE49-F238E27FC236}">
                <a16:creationId xmlns:a16="http://schemas.microsoft.com/office/drawing/2014/main" id="{3D2AC8AA-7AB4-0ECE-5B82-BD5A1DEE79D0}"/>
              </a:ext>
            </a:extLst>
          </p:cNvPr>
          <p:cNvSpPr txBox="1">
            <a:spLocks/>
          </p:cNvSpPr>
          <p:nvPr>
            <p:custDataLst>
              <p:tags r:id="rId62"/>
            </p:custDataLst>
          </p:nvPr>
        </p:nvSpPr>
        <p:spPr>
          <a:xfrm>
            <a:off x="2762302" y="3210393"/>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7" name="TextBox 6">
            <a:extLst>
              <a:ext uri="{FF2B5EF4-FFF2-40B4-BE49-F238E27FC236}">
                <a16:creationId xmlns:a16="http://schemas.microsoft.com/office/drawing/2014/main" id="{5678D7F3-B299-B7E2-F96D-B652CC828968}"/>
              </a:ext>
            </a:extLst>
          </p:cNvPr>
          <p:cNvSpPr txBox="1">
            <a:spLocks/>
          </p:cNvSpPr>
          <p:nvPr>
            <p:custDataLst>
              <p:tags r:id="rId63"/>
            </p:custDataLst>
          </p:nvPr>
        </p:nvSpPr>
        <p:spPr>
          <a:xfrm>
            <a:off x="2762302" y="3532711"/>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8" name="TextBox 7">
            <a:extLst>
              <a:ext uri="{FF2B5EF4-FFF2-40B4-BE49-F238E27FC236}">
                <a16:creationId xmlns:a16="http://schemas.microsoft.com/office/drawing/2014/main" id="{BA334FF0-C004-E2FB-593D-A12ED5BBC1D2}"/>
              </a:ext>
            </a:extLst>
          </p:cNvPr>
          <p:cNvSpPr txBox="1">
            <a:spLocks/>
          </p:cNvSpPr>
          <p:nvPr>
            <p:custDataLst>
              <p:tags r:id="rId64"/>
            </p:custDataLst>
          </p:nvPr>
        </p:nvSpPr>
        <p:spPr>
          <a:xfrm>
            <a:off x="2762302" y="3855029"/>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9" name="TextBox 8">
            <a:extLst>
              <a:ext uri="{FF2B5EF4-FFF2-40B4-BE49-F238E27FC236}">
                <a16:creationId xmlns:a16="http://schemas.microsoft.com/office/drawing/2014/main" id="{4792B617-1AE9-665A-57FF-310DE43694CE}"/>
              </a:ext>
            </a:extLst>
          </p:cNvPr>
          <p:cNvSpPr txBox="1">
            <a:spLocks/>
          </p:cNvSpPr>
          <p:nvPr>
            <p:custDataLst>
              <p:tags r:id="rId65"/>
            </p:custDataLst>
          </p:nvPr>
        </p:nvSpPr>
        <p:spPr>
          <a:xfrm>
            <a:off x="2762302" y="4177347"/>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10" name="TextBox 9">
            <a:extLst>
              <a:ext uri="{FF2B5EF4-FFF2-40B4-BE49-F238E27FC236}">
                <a16:creationId xmlns:a16="http://schemas.microsoft.com/office/drawing/2014/main" id="{3F97CFA1-F472-2FB6-8AC7-49DE37655DB3}"/>
              </a:ext>
            </a:extLst>
          </p:cNvPr>
          <p:cNvSpPr txBox="1">
            <a:spLocks/>
          </p:cNvSpPr>
          <p:nvPr>
            <p:custDataLst>
              <p:tags r:id="rId66"/>
            </p:custDataLst>
          </p:nvPr>
        </p:nvSpPr>
        <p:spPr>
          <a:xfrm>
            <a:off x="2762302" y="4821983"/>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11" name="TextBox 10">
            <a:extLst>
              <a:ext uri="{FF2B5EF4-FFF2-40B4-BE49-F238E27FC236}">
                <a16:creationId xmlns:a16="http://schemas.microsoft.com/office/drawing/2014/main" id="{7E91DB69-1591-53FD-9465-29DA2D7C4180}"/>
              </a:ext>
            </a:extLst>
          </p:cNvPr>
          <p:cNvSpPr txBox="1">
            <a:spLocks/>
          </p:cNvSpPr>
          <p:nvPr>
            <p:custDataLst>
              <p:tags r:id="rId67"/>
            </p:custDataLst>
          </p:nvPr>
        </p:nvSpPr>
        <p:spPr>
          <a:xfrm>
            <a:off x="2762302" y="5144301"/>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12" name="TextBox 11">
            <a:extLst>
              <a:ext uri="{FF2B5EF4-FFF2-40B4-BE49-F238E27FC236}">
                <a16:creationId xmlns:a16="http://schemas.microsoft.com/office/drawing/2014/main" id="{C208647B-081C-66C7-9FBA-C645D2D232BE}"/>
              </a:ext>
            </a:extLst>
          </p:cNvPr>
          <p:cNvSpPr txBox="1">
            <a:spLocks/>
          </p:cNvSpPr>
          <p:nvPr>
            <p:custDataLst>
              <p:tags r:id="rId68"/>
            </p:custDataLst>
          </p:nvPr>
        </p:nvSpPr>
        <p:spPr>
          <a:xfrm>
            <a:off x="2762302" y="5788936"/>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13" name="TextBox 12">
            <a:extLst>
              <a:ext uri="{FF2B5EF4-FFF2-40B4-BE49-F238E27FC236}">
                <a16:creationId xmlns:a16="http://schemas.microsoft.com/office/drawing/2014/main" id="{55F65626-D24B-1804-0CC1-4ED92C2A34E0}"/>
              </a:ext>
            </a:extLst>
          </p:cNvPr>
          <p:cNvSpPr txBox="1">
            <a:spLocks/>
          </p:cNvSpPr>
          <p:nvPr>
            <p:custDataLst>
              <p:tags r:id="rId69"/>
            </p:custDataLst>
          </p:nvPr>
        </p:nvSpPr>
        <p:spPr>
          <a:xfrm>
            <a:off x="5919876" y="966225"/>
            <a:ext cx="198991"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a:t>
            </a:r>
          </a:p>
        </p:txBody>
      </p:sp>
      <p:sp>
        <p:nvSpPr>
          <p:cNvPr id="14" name="TextBox 13">
            <a:extLst>
              <a:ext uri="{FF2B5EF4-FFF2-40B4-BE49-F238E27FC236}">
                <a16:creationId xmlns:a16="http://schemas.microsoft.com/office/drawing/2014/main" id="{1A1B6BEB-445B-4EB9-0E4C-488C88B57579}"/>
              </a:ext>
            </a:extLst>
          </p:cNvPr>
          <p:cNvSpPr txBox="1">
            <a:spLocks/>
          </p:cNvSpPr>
          <p:nvPr>
            <p:custDataLst>
              <p:tags r:id="rId70"/>
            </p:custDataLst>
          </p:nvPr>
        </p:nvSpPr>
        <p:spPr>
          <a:xfrm>
            <a:off x="6234806" y="966225"/>
            <a:ext cx="1954166"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Stakeholder group</a:t>
            </a:r>
          </a:p>
        </p:txBody>
      </p:sp>
      <p:sp>
        <p:nvSpPr>
          <p:cNvPr id="15" name="TextBox 14">
            <a:extLst>
              <a:ext uri="{FF2B5EF4-FFF2-40B4-BE49-F238E27FC236}">
                <a16:creationId xmlns:a16="http://schemas.microsoft.com/office/drawing/2014/main" id="{18700D0B-7EBA-591C-653F-40750B7B0601}"/>
              </a:ext>
            </a:extLst>
          </p:cNvPr>
          <p:cNvSpPr txBox="1">
            <a:spLocks/>
          </p:cNvSpPr>
          <p:nvPr>
            <p:custDataLst>
              <p:tags r:id="rId71"/>
            </p:custDataLst>
          </p:nvPr>
        </p:nvSpPr>
        <p:spPr>
          <a:xfrm>
            <a:off x="9100198" y="966225"/>
            <a:ext cx="2670786"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Organization</a:t>
            </a:r>
          </a:p>
        </p:txBody>
      </p:sp>
      <p:sp>
        <p:nvSpPr>
          <p:cNvPr id="16" name="TextBox 15">
            <a:extLst>
              <a:ext uri="{FF2B5EF4-FFF2-40B4-BE49-F238E27FC236}">
                <a16:creationId xmlns:a16="http://schemas.microsoft.com/office/drawing/2014/main" id="{DBA9726C-3CC2-33A7-5AA1-679C77B4BFB6}"/>
              </a:ext>
            </a:extLst>
          </p:cNvPr>
          <p:cNvSpPr txBox="1">
            <a:spLocks/>
          </p:cNvSpPr>
          <p:nvPr>
            <p:custDataLst>
              <p:tags r:id="rId72"/>
            </p:custDataLst>
          </p:nvPr>
        </p:nvSpPr>
        <p:spPr>
          <a:xfrm>
            <a:off x="8062032" y="966225"/>
            <a:ext cx="1240728"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Type</a:t>
            </a:r>
          </a:p>
        </p:txBody>
      </p:sp>
      <p:sp>
        <p:nvSpPr>
          <p:cNvPr id="17" name="TextBox 16">
            <a:extLst>
              <a:ext uri="{FF2B5EF4-FFF2-40B4-BE49-F238E27FC236}">
                <a16:creationId xmlns:a16="http://schemas.microsoft.com/office/drawing/2014/main" id="{2E79DC32-8E98-97D4-1AF1-A2481E18A20C}"/>
              </a:ext>
            </a:extLst>
          </p:cNvPr>
          <p:cNvSpPr txBox="1">
            <a:spLocks/>
          </p:cNvSpPr>
          <p:nvPr>
            <p:custDataLst>
              <p:tags r:id="rId73"/>
            </p:custDataLst>
          </p:nvPr>
        </p:nvSpPr>
        <p:spPr>
          <a:xfrm>
            <a:off x="5919876" y="1276485"/>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16</a:t>
            </a:r>
          </a:p>
        </p:txBody>
      </p:sp>
      <p:sp>
        <p:nvSpPr>
          <p:cNvPr id="18" name="TextBox 17">
            <a:extLst>
              <a:ext uri="{FF2B5EF4-FFF2-40B4-BE49-F238E27FC236}">
                <a16:creationId xmlns:a16="http://schemas.microsoft.com/office/drawing/2014/main" id="{0BB3F12F-633B-7F42-985C-AD6AB67B272B}"/>
              </a:ext>
            </a:extLst>
          </p:cNvPr>
          <p:cNvSpPr txBox="1">
            <a:spLocks/>
          </p:cNvSpPr>
          <p:nvPr>
            <p:custDataLst>
              <p:tags r:id="rId74"/>
            </p:custDataLst>
          </p:nvPr>
        </p:nvSpPr>
        <p:spPr>
          <a:xfrm>
            <a:off x="6234806" y="1276485"/>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OUs</a:t>
            </a:r>
          </a:p>
        </p:txBody>
      </p:sp>
      <p:sp>
        <p:nvSpPr>
          <p:cNvPr id="19" name="TextBox 18">
            <a:extLst>
              <a:ext uri="{FF2B5EF4-FFF2-40B4-BE49-F238E27FC236}">
                <a16:creationId xmlns:a16="http://schemas.microsoft.com/office/drawing/2014/main" id="{18A04703-4357-7258-613B-81455C683A72}"/>
              </a:ext>
            </a:extLst>
          </p:cNvPr>
          <p:cNvSpPr txBox="1">
            <a:spLocks/>
          </p:cNvSpPr>
          <p:nvPr>
            <p:custDataLst>
              <p:tags r:id="rId75"/>
            </p:custDataLst>
          </p:nvPr>
        </p:nvSpPr>
        <p:spPr>
          <a:xfrm>
            <a:off x="5919876" y="1599895"/>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17</a:t>
            </a:r>
          </a:p>
        </p:txBody>
      </p:sp>
      <p:sp>
        <p:nvSpPr>
          <p:cNvPr id="20" name="TextBox 19">
            <a:extLst>
              <a:ext uri="{FF2B5EF4-FFF2-40B4-BE49-F238E27FC236}">
                <a16:creationId xmlns:a16="http://schemas.microsoft.com/office/drawing/2014/main" id="{D32BDF8F-8DBF-14C4-38A6-F16470CEC4A4}"/>
              </a:ext>
            </a:extLst>
          </p:cNvPr>
          <p:cNvSpPr txBox="1">
            <a:spLocks/>
          </p:cNvSpPr>
          <p:nvPr>
            <p:custDataLst>
              <p:tags r:id="rId76"/>
            </p:custDataLst>
          </p:nvPr>
        </p:nvSpPr>
        <p:spPr>
          <a:xfrm>
            <a:off x="6234806" y="1599895"/>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Hyperscalers</a:t>
            </a:r>
          </a:p>
        </p:txBody>
      </p:sp>
      <p:sp>
        <p:nvSpPr>
          <p:cNvPr id="21" name="TextBox 20">
            <a:extLst>
              <a:ext uri="{FF2B5EF4-FFF2-40B4-BE49-F238E27FC236}">
                <a16:creationId xmlns:a16="http://schemas.microsoft.com/office/drawing/2014/main" id="{FDEDDFB7-9E36-60CF-246C-5CBC98388779}"/>
              </a:ext>
            </a:extLst>
          </p:cNvPr>
          <p:cNvSpPr txBox="1">
            <a:spLocks/>
          </p:cNvSpPr>
          <p:nvPr>
            <p:custDataLst>
              <p:tags r:id="rId77"/>
            </p:custDataLst>
          </p:nvPr>
        </p:nvSpPr>
        <p:spPr>
          <a:xfrm>
            <a:off x="5919876" y="1923305"/>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18</a:t>
            </a:r>
          </a:p>
        </p:txBody>
      </p:sp>
      <p:sp>
        <p:nvSpPr>
          <p:cNvPr id="22" name="TextBox 21">
            <a:extLst>
              <a:ext uri="{FF2B5EF4-FFF2-40B4-BE49-F238E27FC236}">
                <a16:creationId xmlns:a16="http://schemas.microsoft.com/office/drawing/2014/main" id="{043D831B-0E8C-CC03-FF90-166A5BDAEAA2}"/>
              </a:ext>
            </a:extLst>
          </p:cNvPr>
          <p:cNvSpPr txBox="1">
            <a:spLocks/>
          </p:cNvSpPr>
          <p:nvPr>
            <p:custDataLst>
              <p:tags r:id="rId78"/>
            </p:custDataLst>
          </p:nvPr>
        </p:nvSpPr>
        <p:spPr>
          <a:xfrm>
            <a:off x="6234806" y="1923305"/>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ustrial consumers</a:t>
            </a:r>
          </a:p>
        </p:txBody>
      </p:sp>
      <p:sp>
        <p:nvSpPr>
          <p:cNvPr id="23" name="TextBox 22">
            <a:extLst>
              <a:ext uri="{FF2B5EF4-FFF2-40B4-BE49-F238E27FC236}">
                <a16:creationId xmlns:a16="http://schemas.microsoft.com/office/drawing/2014/main" id="{8B1FA801-28B7-229B-9FA7-449407BA6618}"/>
              </a:ext>
            </a:extLst>
          </p:cNvPr>
          <p:cNvSpPr txBox="1">
            <a:spLocks/>
          </p:cNvSpPr>
          <p:nvPr>
            <p:custDataLst>
              <p:tags r:id="rId79"/>
            </p:custDataLst>
          </p:nvPr>
        </p:nvSpPr>
        <p:spPr>
          <a:xfrm>
            <a:off x="5919876" y="2246715"/>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19</a:t>
            </a:r>
          </a:p>
        </p:txBody>
      </p:sp>
      <p:sp>
        <p:nvSpPr>
          <p:cNvPr id="24" name="TextBox 23">
            <a:extLst>
              <a:ext uri="{FF2B5EF4-FFF2-40B4-BE49-F238E27FC236}">
                <a16:creationId xmlns:a16="http://schemas.microsoft.com/office/drawing/2014/main" id="{DFF65536-EB08-5C72-C3F0-BD6F0D9F203A}"/>
              </a:ext>
            </a:extLst>
          </p:cNvPr>
          <p:cNvSpPr txBox="1">
            <a:spLocks/>
          </p:cNvSpPr>
          <p:nvPr>
            <p:custDataLst>
              <p:tags r:id="rId80"/>
            </p:custDataLst>
          </p:nvPr>
        </p:nvSpPr>
        <p:spPr>
          <a:xfrm>
            <a:off x="6234806" y="2246715"/>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ependent generators</a:t>
            </a:r>
          </a:p>
        </p:txBody>
      </p:sp>
      <p:sp>
        <p:nvSpPr>
          <p:cNvPr id="25" name="TextBox 24">
            <a:extLst>
              <a:ext uri="{FF2B5EF4-FFF2-40B4-BE49-F238E27FC236}">
                <a16:creationId xmlns:a16="http://schemas.microsoft.com/office/drawing/2014/main" id="{5CA61D97-A329-E0D2-6FDD-446F0D5E1AB4}"/>
              </a:ext>
            </a:extLst>
          </p:cNvPr>
          <p:cNvSpPr txBox="1">
            <a:spLocks/>
          </p:cNvSpPr>
          <p:nvPr>
            <p:custDataLst>
              <p:tags r:id="rId81"/>
            </p:custDataLst>
          </p:nvPr>
        </p:nvSpPr>
        <p:spPr>
          <a:xfrm>
            <a:off x="5919876" y="2570125"/>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20</a:t>
            </a:r>
          </a:p>
        </p:txBody>
      </p:sp>
      <p:sp>
        <p:nvSpPr>
          <p:cNvPr id="26" name="TextBox 25">
            <a:extLst>
              <a:ext uri="{FF2B5EF4-FFF2-40B4-BE49-F238E27FC236}">
                <a16:creationId xmlns:a16="http://schemas.microsoft.com/office/drawing/2014/main" id="{4AB4433B-8199-BEDA-3BE9-196155AFF179}"/>
              </a:ext>
            </a:extLst>
          </p:cNvPr>
          <p:cNvSpPr txBox="1">
            <a:spLocks/>
          </p:cNvSpPr>
          <p:nvPr>
            <p:custDataLst>
              <p:tags r:id="rId82"/>
            </p:custDataLst>
          </p:nvPr>
        </p:nvSpPr>
        <p:spPr>
          <a:xfrm>
            <a:off x="6234806" y="2570125"/>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ependent generators</a:t>
            </a:r>
          </a:p>
        </p:txBody>
      </p:sp>
      <p:sp>
        <p:nvSpPr>
          <p:cNvPr id="27" name="TextBox 26">
            <a:extLst>
              <a:ext uri="{FF2B5EF4-FFF2-40B4-BE49-F238E27FC236}">
                <a16:creationId xmlns:a16="http://schemas.microsoft.com/office/drawing/2014/main" id="{78E9111C-A3D5-E576-736D-83BC384D7B9A}"/>
              </a:ext>
            </a:extLst>
          </p:cNvPr>
          <p:cNvSpPr txBox="1">
            <a:spLocks/>
          </p:cNvSpPr>
          <p:nvPr>
            <p:custDataLst>
              <p:tags r:id="rId83"/>
            </p:custDataLst>
          </p:nvPr>
        </p:nvSpPr>
        <p:spPr>
          <a:xfrm>
            <a:off x="5919876" y="2893535"/>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21</a:t>
            </a:r>
          </a:p>
        </p:txBody>
      </p:sp>
      <p:sp>
        <p:nvSpPr>
          <p:cNvPr id="28" name="TextBox 27">
            <a:extLst>
              <a:ext uri="{FF2B5EF4-FFF2-40B4-BE49-F238E27FC236}">
                <a16:creationId xmlns:a16="http://schemas.microsoft.com/office/drawing/2014/main" id="{3C68B181-C1FB-02E7-E838-0F10B3F5FA10}"/>
              </a:ext>
            </a:extLst>
          </p:cNvPr>
          <p:cNvSpPr txBox="1">
            <a:spLocks/>
          </p:cNvSpPr>
          <p:nvPr>
            <p:custDataLst>
              <p:tags r:id="rId84"/>
            </p:custDataLst>
          </p:nvPr>
        </p:nvSpPr>
        <p:spPr>
          <a:xfrm>
            <a:off x="6234806" y="2893535"/>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ependent generators</a:t>
            </a:r>
          </a:p>
        </p:txBody>
      </p:sp>
      <p:sp>
        <p:nvSpPr>
          <p:cNvPr id="29" name="TextBox 28">
            <a:extLst>
              <a:ext uri="{FF2B5EF4-FFF2-40B4-BE49-F238E27FC236}">
                <a16:creationId xmlns:a16="http://schemas.microsoft.com/office/drawing/2014/main" id="{4C34FEE5-3DE3-680A-7DB3-DBA6091247BE}"/>
              </a:ext>
            </a:extLst>
          </p:cNvPr>
          <p:cNvSpPr txBox="1">
            <a:spLocks/>
          </p:cNvSpPr>
          <p:nvPr>
            <p:custDataLst>
              <p:tags r:id="rId85"/>
            </p:custDataLst>
          </p:nvPr>
        </p:nvSpPr>
        <p:spPr>
          <a:xfrm>
            <a:off x="5919876" y="3216945"/>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22</a:t>
            </a:r>
          </a:p>
        </p:txBody>
      </p:sp>
      <p:sp>
        <p:nvSpPr>
          <p:cNvPr id="30" name="TextBox 29">
            <a:extLst>
              <a:ext uri="{FF2B5EF4-FFF2-40B4-BE49-F238E27FC236}">
                <a16:creationId xmlns:a16="http://schemas.microsoft.com/office/drawing/2014/main" id="{FB5ADA03-E1AC-6646-057A-85A8D1751461}"/>
              </a:ext>
            </a:extLst>
          </p:cNvPr>
          <p:cNvSpPr txBox="1">
            <a:spLocks/>
          </p:cNvSpPr>
          <p:nvPr>
            <p:custDataLst>
              <p:tags r:id="rId86"/>
            </p:custDataLst>
          </p:nvPr>
        </p:nvSpPr>
        <p:spPr>
          <a:xfrm>
            <a:off x="6234806" y="3216945"/>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Developers</a:t>
            </a:r>
          </a:p>
        </p:txBody>
      </p:sp>
      <p:sp>
        <p:nvSpPr>
          <p:cNvPr id="31" name="TextBox 30">
            <a:extLst>
              <a:ext uri="{FF2B5EF4-FFF2-40B4-BE49-F238E27FC236}">
                <a16:creationId xmlns:a16="http://schemas.microsoft.com/office/drawing/2014/main" id="{4EE33837-7437-85F2-F883-6CC3762085B5}"/>
              </a:ext>
            </a:extLst>
          </p:cNvPr>
          <p:cNvSpPr txBox="1">
            <a:spLocks/>
          </p:cNvSpPr>
          <p:nvPr>
            <p:custDataLst>
              <p:tags r:id="rId87"/>
            </p:custDataLst>
          </p:nvPr>
        </p:nvSpPr>
        <p:spPr>
          <a:xfrm>
            <a:off x="5919876" y="5801876"/>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30</a:t>
            </a:r>
          </a:p>
        </p:txBody>
      </p:sp>
      <p:sp>
        <p:nvSpPr>
          <p:cNvPr id="32" name="TextBox 31">
            <a:extLst>
              <a:ext uri="{FF2B5EF4-FFF2-40B4-BE49-F238E27FC236}">
                <a16:creationId xmlns:a16="http://schemas.microsoft.com/office/drawing/2014/main" id="{FDC87E4E-0393-3BDA-6046-9A389019E6C1}"/>
              </a:ext>
            </a:extLst>
          </p:cNvPr>
          <p:cNvSpPr txBox="1">
            <a:spLocks/>
          </p:cNvSpPr>
          <p:nvPr>
            <p:custDataLst>
              <p:tags r:id="rId88"/>
            </p:custDataLst>
          </p:nvPr>
        </p:nvSpPr>
        <p:spPr>
          <a:xfrm>
            <a:off x="6234806" y="5801876"/>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Colocators</a:t>
            </a:r>
          </a:p>
        </p:txBody>
      </p:sp>
      <p:sp>
        <p:nvSpPr>
          <p:cNvPr id="33" name="TextBox 32">
            <a:extLst>
              <a:ext uri="{FF2B5EF4-FFF2-40B4-BE49-F238E27FC236}">
                <a16:creationId xmlns:a16="http://schemas.microsoft.com/office/drawing/2014/main" id="{121E18E1-AE90-7CAB-466D-1EA1E382852F}"/>
              </a:ext>
            </a:extLst>
          </p:cNvPr>
          <p:cNvSpPr txBox="1">
            <a:spLocks/>
          </p:cNvSpPr>
          <p:nvPr>
            <p:custDataLst>
              <p:tags r:id="rId89"/>
            </p:custDataLst>
          </p:nvPr>
        </p:nvSpPr>
        <p:spPr>
          <a:xfrm>
            <a:off x="5919876" y="5486994"/>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29</a:t>
            </a:r>
          </a:p>
        </p:txBody>
      </p:sp>
      <p:sp>
        <p:nvSpPr>
          <p:cNvPr id="34" name="TextBox 33">
            <a:extLst>
              <a:ext uri="{FF2B5EF4-FFF2-40B4-BE49-F238E27FC236}">
                <a16:creationId xmlns:a16="http://schemas.microsoft.com/office/drawing/2014/main" id="{106BFE68-164E-2251-F5FF-CB00B1F04F8A}"/>
              </a:ext>
            </a:extLst>
          </p:cNvPr>
          <p:cNvSpPr txBox="1">
            <a:spLocks/>
          </p:cNvSpPr>
          <p:nvPr>
            <p:custDataLst>
              <p:tags r:id="rId90"/>
            </p:custDataLst>
          </p:nvPr>
        </p:nvSpPr>
        <p:spPr>
          <a:xfrm>
            <a:off x="6234806" y="5486994"/>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Hyperscalers</a:t>
            </a:r>
          </a:p>
        </p:txBody>
      </p:sp>
      <p:sp>
        <p:nvSpPr>
          <p:cNvPr id="35" name="TextBox 34">
            <a:extLst>
              <a:ext uri="{FF2B5EF4-FFF2-40B4-BE49-F238E27FC236}">
                <a16:creationId xmlns:a16="http://schemas.microsoft.com/office/drawing/2014/main" id="{A5CD20EE-BCC8-865E-C071-E49EB0448FCB}"/>
              </a:ext>
            </a:extLst>
          </p:cNvPr>
          <p:cNvSpPr txBox="1">
            <a:spLocks/>
          </p:cNvSpPr>
          <p:nvPr>
            <p:custDataLst>
              <p:tags r:id="rId91"/>
            </p:custDataLst>
          </p:nvPr>
        </p:nvSpPr>
        <p:spPr>
          <a:xfrm>
            <a:off x="5919876" y="5169762"/>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28</a:t>
            </a:r>
          </a:p>
        </p:txBody>
      </p:sp>
      <p:sp>
        <p:nvSpPr>
          <p:cNvPr id="36" name="TextBox 35">
            <a:extLst>
              <a:ext uri="{FF2B5EF4-FFF2-40B4-BE49-F238E27FC236}">
                <a16:creationId xmlns:a16="http://schemas.microsoft.com/office/drawing/2014/main" id="{472F24AC-2BF6-EC42-4128-A6427BA5F561}"/>
              </a:ext>
            </a:extLst>
          </p:cNvPr>
          <p:cNvSpPr txBox="1">
            <a:spLocks/>
          </p:cNvSpPr>
          <p:nvPr>
            <p:custDataLst>
              <p:tags r:id="rId92"/>
            </p:custDataLst>
          </p:nvPr>
        </p:nvSpPr>
        <p:spPr>
          <a:xfrm>
            <a:off x="6234806" y="5169762"/>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Co-ops</a:t>
            </a:r>
          </a:p>
        </p:txBody>
      </p:sp>
      <p:sp>
        <p:nvSpPr>
          <p:cNvPr id="37" name="TextBox 36">
            <a:extLst>
              <a:ext uri="{FF2B5EF4-FFF2-40B4-BE49-F238E27FC236}">
                <a16:creationId xmlns:a16="http://schemas.microsoft.com/office/drawing/2014/main" id="{38557E07-2ADC-4012-262A-31A5987097D4}"/>
              </a:ext>
            </a:extLst>
          </p:cNvPr>
          <p:cNvSpPr txBox="1">
            <a:spLocks/>
          </p:cNvSpPr>
          <p:nvPr>
            <p:custDataLst>
              <p:tags r:id="rId93"/>
            </p:custDataLst>
          </p:nvPr>
        </p:nvSpPr>
        <p:spPr>
          <a:xfrm>
            <a:off x="5919876" y="4850175"/>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27</a:t>
            </a:r>
          </a:p>
        </p:txBody>
      </p:sp>
      <p:sp>
        <p:nvSpPr>
          <p:cNvPr id="38" name="TextBox 37">
            <a:extLst>
              <a:ext uri="{FF2B5EF4-FFF2-40B4-BE49-F238E27FC236}">
                <a16:creationId xmlns:a16="http://schemas.microsoft.com/office/drawing/2014/main" id="{DAF93257-3FDF-02B5-1B2B-CDD5EDC09468}"/>
              </a:ext>
            </a:extLst>
          </p:cNvPr>
          <p:cNvSpPr txBox="1">
            <a:spLocks/>
          </p:cNvSpPr>
          <p:nvPr>
            <p:custDataLst>
              <p:tags r:id="rId94"/>
            </p:custDataLst>
          </p:nvPr>
        </p:nvSpPr>
        <p:spPr>
          <a:xfrm>
            <a:off x="6234806" y="4850175"/>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ependent generators</a:t>
            </a:r>
          </a:p>
        </p:txBody>
      </p:sp>
      <p:sp>
        <p:nvSpPr>
          <p:cNvPr id="39" name="TextBox 38">
            <a:extLst>
              <a:ext uri="{FF2B5EF4-FFF2-40B4-BE49-F238E27FC236}">
                <a16:creationId xmlns:a16="http://schemas.microsoft.com/office/drawing/2014/main" id="{2D162E77-60C2-705B-4E1B-3199573E91F6}"/>
              </a:ext>
            </a:extLst>
          </p:cNvPr>
          <p:cNvSpPr txBox="1">
            <a:spLocks/>
          </p:cNvSpPr>
          <p:nvPr>
            <p:custDataLst>
              <p:tags r:id="rId95"/>
            </p:custDataLst>
          </p:nvPr>
        </p:nvSpPr>
        <p:spPr>
          <a:xfrm>
            <a:off x="5919876" y="4528235"/>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26</a:t>
            </a:r>
          </a:p>
        </p:txBody>
      </p:sp>
      <p:sp>
        <p:nvSpPr>
          <p:cNvPr id="40" name="TextBox 39">
            <a:extLst>
              <a:ext uri="{FF2B5EF4-FFF2-40B4-BE49-F238E27FC236}">
                <a16:creationId xmlns:a16="http://schemas.microsoft.com/office/drawing/2014/main" id="{277C5AF9-10C4-095B-32E5-AE89E1878DBB}"/>
              </a:ext>
            </a:extLst>
          </p:cNvPr>
          <p:cNvSpPr txBox="1">
            <a:spLocks/>
          </p:cNvSpPr>
          <p:nvPr>
            <p:custDataLst>
              <p:tags r:id="rId96"/>
            </p:custDataLst>
          </p:nvPr>
        </p:nvSpPr>
        <p:spPr>
          <a:xfrm>
            <a:off x="6234806" y="4528235"/>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ependent generators</a:t>
            </a:r>
          </a:p>
        </p:txBody>
      </p:sp>
      <p:sp>
        <p:nvSpPr>
          <p:cNvPr id="41" name="TextBox 40">
            <a:extLst>
              <a:ext uri="{FF2B5EF4-FFF2-40B4-BE49-F238E27FC236}">
                <a16:creationId xmlns:a16="http://schemas.microsoft.com/office/drawing/2014/main" id="{A896FC19-7B9D-08A1-CFBA-E8C417C65A2A}"/>
              </a:ext>
            </a:extLst>
          </p:cNvPr>
          <p:cNvSpPr txBox="1">
            <a:spLocks/>
          </p:cNvSpPr>
          <p:nvPr>
            <p:custDataLst>
              <p:tags r:id="rId97"/>
            </p:custDataLst>
          </p:nvPr>
        </p:nvSpPr>
        <p:spPr>
          <a:xfrm>
            <a:off x="5919876" y="4203942"/>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25</a:t>
            </a:r>
          </a:p>
        </p:txBody>
      </p:sp>
      <p:sp>
        <p:nvSpPr>
          <p:cNvPr id="42" name="TextBox 41">
            <a:extLst>
              <a:ext uri="{FF2B5EF4-FFF2-40B4-BE49-F238E27FC236}">
                <a16:creationId xmlns:a16="http://schemas.microsoft.com/office/drawing/2014/main" id="{94AD6A11-7B0A-BEF4-1915-CA453F19068D}"/>
              </a:ext>
            </a:extLst>
          </p:cNvPr>
          <p:cNvSpPr txBox="1">
            <a:spLocks/>
          </p:cNvSpPr>
          <p:nvPr>
            <p:custDataLst>
              <p:tags r:id="rId98"/>
            </p:custDataLst>
          </p:nvPr>
        </p:nvSpPr>
        <p:spPr>
          <a:xfrm>
            <a:off x="6234806" y="4203942"/>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Resi/Comm. Consumers</a:t>
            </a:r>
          </a:p>
        </p:txBody>
      </p:sp>
      <p:sp>
        <p:nvSpPr>
          <p:cNvPr id="43" name="TextBox 42">
            <a:extLst>
              <a:ext uri="{FF2B5EF4-FFF2-40B4-BE49-F238E27FC236}">
                <a16:creationId xmlns:a16="http://schemas.microsoft.com/office/drawing/2014/main" id="{A44DC08E-6FFA-176D-404D-4EF53671C70E}"/>
              </a:ext>
            </a:extLst>
          </p:cNvPr>
          <p:cNvSpPr txBox="1">
            <a:spLocks/>
          </p:cNvSpPr>
          <p:nvPr>
            <p:custDataLst>
              <p:tags r:id="rId99"/>
            </p:custDataLst>
          </p:nvPr>
        </p:nvSpPr>
        <p:spPr>
          <a:xfrm>
            <a:off x="5919876" y="3877296"/>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24</a:t>
            </a:r>
          </a:p>
        </p:txBody>
      </p:sp>
      <p:sp>
        <p:nvSpPr>
          <p:cNvPr id="44" name="TextBox 43">
            <a:extLst>
              <a:ext uri="{FF2B5EF4-FFF2-40B4-BE49-F238E27FC236}">
                <a16:creationId xmlns:a16="http://schemas.microsoft.com/office/drawing/2014/main" id="{1D30F855-C8A7-DE73-BFDC-FA45EC69F826}"/>
              </a:ext>
            </a:extLst>
          </p:cNvPr>
          <p:cNvSpPr txBox="1">
            <a:spLocks/>
          </p:cNvSpPr>
          <p:nvPr>
            <p:custDataLst>
              <p:tags r:id="rId100"/>
            </p:custDataLst>
          </p:nvPr>
        </p:nvSpPr>
        <p:spPr>
          <a:xfrm>
            <a:off x="6234806" y="3877296"/>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Co-ops</a:t>
            </a:r>
          </a:p>
        </p:txBody>
      </p:sp>
      <p:sp>
        <p:nvSpPr>
          <p:cNvPr id="45" name="TextBox 44">
            <a:extLst>
              <a:ext uri="{FF2B5EF4-FFF2-40B4-BE49-F238E27FC236}">
                <a16:creationId xmlns:a16="http://schemas.microsoft.com/office/drawing/2014/main" id="{184D68AF-AB73-86A2-73E8-38C722C530B5}"/>
              </a:ext>
            </a:extLst>
          </p:cNvPr>
          <p:cNvSpPr txBox="1">
            <a:spLocks/>
          </p:cNvSpPr>
          <p:nvPr>
            <p:custDataLst>
              <p:tags r:id="rId101"/>
            </p:custDataLst>
          </p:nvPr>
        </p:nvSpPr>
        <p:spPr>
          <a:xfrm>
            <a:off x="5919876" y="3548297"/>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23</a:t>
            </a:r>
          </a:p>
        </p:txBody>
      </p:sp>
      <p:sp>
        <p:nvSpPr>
          <p:cNvPr id="46" name="TextBox 45">
            <a:extLst>
              <a:ext uri="{FF2B5EF4-FFF2-40B4-BE49-F238E27FC236}">
                <a16:creationId xmlns:a16="http://schemas.microsoft.com/office/drawing/2014/main" id="{10F51B8B-1C09-78D8-2AEA-90F09DF69033}"/>
              </a:ext>
            </a:extLst>
          </p:cNvPr>
          <p:cNvSpPr txBox="1">
            <a:spLocks/>
          </p:cNvSpPr>
          <p:nvPr>
            <p:custDataLst>
              <p:tags r:id="rId102"/>
            </p:custDataLst>
          </p:nvPr>
        </p:nvSpPr>
        <p:spPr>
          <a:xfrm>
            <a:off x="6234806" y="3548297"/>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Consumer / Advocacy</a:t>
            </a:r>
          </a:p>
        </p:txBody>
      </p:sp>
      <p:sp>
        <p:nvSpPr>
          <p:cNvPr id="47" name="TextBox 46">
            <a:extLst>
              <a:ext uri="{FF2B5EF4-FFF2-40B4-BE49-F238E27FC236}">
                <a16:creationId xmlns:a16="http://schemas.microsoft.com/office/drawing/2014/main" id="{33B1FB4E-AF19-BB1A-1B4E-BD50021D514B}"/>
              </a:ext>
            </a:extLst>
          </p:cNvPr>
          <p:cNvSpPr txBox="1">
            <a:spLocks/>
          </p:cNvSpPr>
          <p:nvPr>
            <p:custDataLst>
              <p:tags r:id="rId103"/>
            </p:custDataLst>
          </p:nvPr>
        </p:nvSpPr>
        <p:spPr>
          <a:xfrm>
            <a:off x="9100198" y="1276485"/>
            <a:ext cx="27646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Oncor Electric Delivery</a:t>
            </a:r>
          </a:p>
        </p:txBody>
      </p:sp>
      <p:sp>
        <p:nvSpPr>
          <p:cNvPr id="48" name="TextBox 47">
            <a:extLst>
              <a:ext uri="{FF2B5EF4-FFF2-40B4-BE49-F238E27FC236}">
                <a16:creationId xmlns:a16="http://schemas.microsoft.com/office/drawing/2014/main" id="{3AE6EB7F-0976-BD10-3BBF-5B1CB8BBBFCB}"/>
              </a:ext>
            </a:extLst>
          </p:cNvPr>
          <p:cNvSpPr txBox="1">
            <a:spLocks/>
          </p:cNvSpPr>
          <p:nvPr>
            <p:custDataLst>
              <p:tags r:id="rId104"/>
            </p:custDataLst>
          </p:nvPr>
        </p:nvSpPr>
        <p:spPr>
          <a:xfrm>
            <a:off x="9100198" y="1599895"/>
            <a:ext cx="27646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OpenAI</a:t>
            </a:r>
          </a:p>
        </p:txBody>
      </p:sp>
      <p:sp>
        <p:nvSpPr>
          <p:cNvPr id="49" name="TextBox 48">
            <a:extLst>
              <a:ext uri="{FF2B5EF4-FFF2-40B4-BE49-F238E27FC236}">
                <a16:creationId xmlns:a16="http://schemas.microsoft.com/office/drawing/2014/main" id="{EC81DB57-3179-AD80-2730-8F2E29AF5246}"/>
              </a:ext>
            </a:extLst>
          </p:cNvPr>
          <p:cNvSpPr txBox="1">
            <a:spLocks/>
          </p:cNvSpPr>
          <p:nvPr>
            <p:custDataLst>
              <p:tags r:id="rId105"/>
            </p:custDataLst>
          </p:nvPr>
        </p:nvSpPr>
        <p:spPr>
          <a:xfrm>
            <a:off x="9100198" y="1923305"/>
            <a:ext cx="27646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Texas Association of Manufacturers</a:t>
            </a:r>
          </a:p>
        </p:txBody>
      </p:sp>
      <p:sp>
        <p:nvSpPr>
          <p:cNvPr id="50" name="TextBox 49">
            <a:extLst>
              <a:ext uri="{FF2B5EF4-FFF2-40B4-BE49-F238E27FC236}">
                <a16:creationId xmlns:a16="http://schemas.microsoft.com/office/drawing/2014/main" id="{ABDAFF7B-4C03-4836-35EB-56E65FE12419}"/>
              </a:ext>
            </a:extLst>
          </p:cNvPr>
          <p:cNvSpPr txBox="1">
            <a:spLocks/>
          </p:cNvSpPr>
          <p:nvPr>
            <p:custDataLst>
              <p:tags r:id="rId106"/>
            </p:custDataLst>
          </p:nvPr>
        </p:nvSpPr>
        <p:spPr>
          <a:xfrm>
            <a:off x="9100198" y="2246715"/>
            <a:ext cx="27646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Calpine Corporation</a:t>
            </a:r>
          </a:p>
        </p:txBody>
      </p:sp>
      <p:sp>
        <p:nvSpPr>
          <p:cNvPr id="51" name="TextBox 50">
            <a:extLst>
              <a:ext uri="{FF2B5EF4-FFF2-40B4-BE49-F238E27FC236}">
                <a16:creationId xmlns:a16="http://schemas.microsoft.com/office/drawing/2014/main" id="{0259A22F-9F49-449B-3CF4-93FC5E80B1DA}"/>
              </a:ext>
            </a:extLst>
          </p:cNvPr>
          <p:cNvSpPr txBox="1">
            <a:spLocks/>
          </p:cNvSpPr>
          <p:nvPr>
            <p:custDataLst>
              <p:tags r:id="rId107"/>
            </p:custDataLst>
          </p:nvPr>
        </p:nvSpPr>
        <p:spPr>
          <a:xfrm>
            <a:off x="9100198" y="2570125"/>
            <a:ext cx="27646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Jupiter Power</a:t>
            </a:r>
          </a:p>
        </p:txBody>
      </p:sp>
      <p:sp>
        <p:nvSpPr>
          <p:cNvPr id="52" name="TextBox 51">
            <a:extLst>
              <a:ext uri="{FF2B5EF4-FFF2-40B4-BE49-F238E27FC236}">
                <a16:creationId xmlns:a16="http://schemas.microsoft.com/office/drawing/2014/main" id="{EB12C2A6-61A5-7BBB-05E1-6D534D195F43}"/>
              </a:ext>
            </a:extLst>
          </p:cNvPr>
          <p:cNvSpPr txBox="1">
            <a:spLocks/>
          </p:cNvSpPr>
          <p:nvPr>
            <p:custDataLst>
              <p:tags r:id="rId108"/>
            </p:custDataLst>
          </p:nvPr>
        </p:nvSpPr>
        <p:spPr>
          <a:xfrm>
            <a:off x="9100198" y="2893535"/>
            <a:ext cx="27646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ENGIE North America</a:t>
            </a:r>
          </a:p>
        </p:txBody>
      </p:sp>
      <p:sp>
        <p:nvSpPr>
          <p:cNvPr id="53" name="TextBox 52">
            <a:extLst>
              <a:ext uri="{FF2B5EF4-FFF2-40B4-BE49-F238E27FC236}">
                <a16:creationId xmlns:a16="http://schemas.microsoft.com/office/drawing/2014/main" id="{C471D412-FD4C-3754-FF0F-D1267EADE72A}"/>
              </a:ext>
            </a:extLst>
          </p:cNvPr>
          <p:cNvSpPr txBox="1">
            <a:spLocks/>
          </p:cNvSpPr>
          <p:nvPr>
            <p:custDataLst>
              <p:tags r:id="rId109"/>
            </p:custDataLst>
          </p:nvPr>
        </p:nvSpPr>
        <p:spPr>
          <a:xfrm>
            <a:off x="9100198" y="3216945"/>
            <a:ext cx="27646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tersect</a:t>
            </a:r>
          </a:p>
        </p:txBody>
      </p:sp>
      <p:sp>
        <p:nvSpPr>
          <p:cNvPr id="54" name="TextBox 53">
            <a:extLst>
              <a:ext uri="{FF2B5EF4-FFF2-40B4-BE49-F238E27FC236}">
                <a16:creationId xmlns:a16="http://schemas.microsoft.com/office/drawing/2014/main" id="{1FBA42F8-8CBD-935B-1325-9D925D0CBCFC}"/>
              </a:ext>
            </a:extLst>
          </p:cNvPr>
          <p:cNvSpPr txBox="1">
            <a:spLocks/>
          </p:cNvSpPr>
          <p:nvPr>
            <p:custDataLst>
              <p:tags r:id="rId110"/>
            </p:custDataLst>
          </p:nvPr>
        </p:nvSpPr>
        <p:spPr>
          <a:xfrm>
            <a:off x="9100198" y="5801876"/>
            <a:ext cx="27646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Digital Realty</a:t>
            </a:r>
          </a:p>
        </p:txBody>
      </p:sp>
      <p:sp>
        <p:nvSpPr>
          <p:cNvPr id="55" name="TextBox 54">
            <a:extLst>
              <a:ext uri="{FF2B5EF4-FFF2-40B4-BE49-F238E27FC236}">
                <a16:creationId xmlns:a16="http://schemas.microsoft.com/office/drawing/2014/main" id="{C99B7532-A843-79C3-A249-A84C57A6150B}"/>
              </a:ext>
            </a:extLst>
          </p:cNvPr>
          <p:cNvSpPr txBox="1">
            <a:spLocks/>
          </p:cNvSpPr>
          <p:nvPr>
            <p:custDataLst>
              <p:tags r:id="rId111"/>
            </p:custDataLst>
          </p:nvPr>
        </p:nvSpPr>
        <p:spPr>
          <a:xfrm>
            <a:off x="9100198" y="5486994"/>
            <a:ext cx="27646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icrosoft</a:t>
            </a:r>
          </a:p>
        </p:txBody>
      </p:sp>
      <p:sp>
        <p:nvSpPr>
          <p:cNvPr id="56" name="TextBox 55">
            <a:extLst>
              <a:ext uri="{FF2B5EF4-FFF2-40B4-BE49-F238E27FC236}">
                <a16:creationId xmlns:a16="http://schemas.microsoft.com/office/drawing/2014/main" id="{A334B1FD-715E-845A-8DBB-A3DD04A381B7}"/>
              </a:ext>
            </a:extLst>
          </p:cNvPr>
          <p:cNvSpPr txBox="1">
            <a:spLocks/>
          </p:cNvSpPr>
          <p:nvPr>
            <p:custDataLst>
              <p:tags r:id="rId112"/>
            </p:custDataLst>
          </p:nvPr>
        </p:nvSpPr>
        <p:spPr>
          <a:xfrm>
            <a:off x="9100198" y="5169762"/>
            <a:ext cx="27646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Rayburn Country Electric Cooperative</a:t>
            </a:r>
          </a:p>
        </p:txBody>
      </p:sp>
      <p:sp>
        <p:nvSpPr>
          <p:cNvPr id="57" name="TextBox 56">
            <a:extLst>
              <a:ext uri="{FF2B5EF4-FFF2-40B4-BE49-F238E27FC236}">
                <a16:creationId xmlns:a16="http://schemas.microsoft.com/office/drawing/2014/main" id="{0D0B0D1A-5482-8372-F742-60F636FBF391}"/>
              </a:ext>
            </a:extLst>
          </p:cNvPr>
          <p:cNvSpPr txBox="1">
            <a:spLocks/>
          </p:cNvSpPr>
          <p:nvPr>
            <p:custDataLst>
              <p:tags r:id="rId113"/>
            </p:custDataLst>
          </p:nvPr>
        </p:nvSpPr>
        <p:spPr>
          <a:xfrm>
            <a:off x="9100198" y="4850175"/>
            <a:ext cx="27646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NRG</a:t>
            </a:r>
          </a:p>
        </p:txBody>
      </p:sp>
      <p:sp>
        <p:nvSpPr>
          <p:cNvPr id="58" name="TextBox 57">
            <a:extLst>
              <a:ext uri="{FF2B5EF4-FFF2-40B4-BE49-F238E27FC236}">
                <a16:creationId xmlns:a16="http://schemas.microsoft.com/office/drawing/2014/main" id="{DF623E43-38F0-608F-DFA1-EC78FFC80617}"/>
              </a:ext>
            </a:extLst>
          </p:cNvPr>
          <p:cNvSpPr txBox="1">
            <a:spLocks/>
          </p:cNvSpPr>
          <p:nvPr>
            <p:custDataLst>
              <p:tags r:id="rId114"/>
            </p:custDataLst>
          </p:nvPr>
        </p:nvSpPr>
        <p:spPr>
          <a:xfrm>
            <a:off x="9100198" y="4528235"/>
            <a:ext cx="27646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ultiple</a:t>
            </a:r>
            <a:r>
              <a:rPr lang="en-US" sz="1200" baseline="30000"/>
              <a:t>5</a:t>
            </a:r>
            <a:endParaRPr lang="en-US" sz="1200"/>
          </a:p>
        </p:txBody>
      </p:sp>
      <p:sp>
        <p:nvSpPr>
          <p:cNvPr id="59" name="TextBox 58">
            <a:extLst>
              <a:ext uri="{FF2B5EF4-FFF2-40B4-BE49-F238E27FC236}">
                <a16:creationId xmlns:a16="http://schemas.microsoft.com/office/drawing/2014/main" id="{1A605741-AD41-4883-1F9F-A3343FEB7546}"/>
              </a:ext>
            </a:extLst>
          </p:cNvPr>
          <p:cNvSpPr txBox="1">
            <a:spLocks/>
          </p:cNvSpPr>
          <p:nvPr>
            <p:custDataLst>
              <p:tags r:id="rId115"/>
            </p:custDataLst>
          </p:nvPr>
        </p:nvSpPr>
        <p:spPr>
          <a:xfrm>
            <a:off x="9100198" y="4203942"/>
            <a:ext cx="27646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ultiple</a:t>
            </a:r>
            <a:r>
              <a:rPr lang="en-US" sz="1200" baseline="30000"/>
              <a:t>4</a:t>
            </a:r>
          </a:p>
        </p:txBody>
      </p:sp>
      <p:sp>
        <p:nvSpPr>
          <p:cNvPr id="60" name="TextBox 59">
            <a:extLst>
              <a:ext uri="{FF2B5EF4-FFF2-40B4-BE49-F238E27FC236}">
                <a16:creationId xmlns:a16="http://schemas.microsoft.com/office/drawing/2014/main" id="{95AD860F-A47C-C839-FAAF-E49B04CABEC8}"/>
              </a:ext>
            </a:extLst>
          </p:cNvPr>
          <p:cNvSpPr txBox="1">
            <a:spLocks/>
          </p:cNvSpPr>
          <p:nvPr>
            <p:custDataLst>
              <p:tags r:id="rId116"/>
            </p:custDataLst>
          </p:nvPr>
        </p:nvSpPr>
        <p:spPr>
          <a:xfrm>
            <a:off x="9100198" y="3877296"/>
            <a:ext cx="27646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Lower Colorado River Authority</a:t>
            </a:r>
          </a:p>
        </p:txBody>
      </p:sp>
      <p:sp>
        <p:nvSpPr>
          <p:cNvPr id="61" name="TextBox 60">
            <a:extLst>
              <a:ext uri="{FF2B5EF4-FFF2-40B4-BE49-F238E27FC236}">
                <a16:creationId xmlns:a16="http://schemas.microsoft.com/office/drawing/2014/main" id="{FD299AC8-3A46-9475-9C4B-877133873848}"/>
              </a:ext>
            </a:extLst>
          </p:cNvPr>
          <p:cNvSpPr txBox="1">
            <a:spLocks/>
          </p:cNvSpPr>
          <p:nvPr>
            <p:custDataLst>
              <p:tags r:id="rId117"/>
            </p:custDataLst>
          </p:nvPr>
        </p:nvSpPr>
        <p:spPr>
          <a:xfrm>
            <a:off x="9100198" y="3548297"/>
            <a:ext cx="27646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DCC (Data Center Coalition)</a:t>
            </a:r>
          </a:p>
        </p:txBody>
      </p:sp>
      <p:sp>
        <p:nvSpPr>
          <p:cNvPr id="108" name="TextBox 107">
            <a:extLst>
              <a:ext uri="{FF2B5EF4-FFF2-40B4-BE49-F238E27FC236}">
                <a16:creationId xmlns:a16="http://schemas.microsoft.com/office/drawing/2014/main" id="{5D80A129-6232-59AF-9B88-BE84BDD41CF1}"/>
              </a:ext>
            </a:extLst>
          </p:cNvPr>
          <p:cNvSpPr txBox="1">
            <a:spLocks/>
          </p:cNvSpPr>
          <p:nvPr>
            <p:custDataLst>
              <p:tags r:id="rId118"/>
            </p:custDataLst>
          </p:nvPr>
        </p:nvSpPr>
        <p:spPr>
          <a:xfrm>
            <a:off x="8062032" y="4512015"/>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Group</a:t>
            </a:r>
            <a:r>
              <a:rPr lang="en-US" sz="1200" baseline="30000"/>
              <a:t>3</a:t>
            </a:r>
            <a:endParaRPr lang="en-US" sz="1200"/>
          </a:p>
        </p:txBody>
      </p:sp>
      <p:sp>
        <p:nvSpPr>
          <p:cNvPr id="109" name="TextBox 108">
            <a:extLst>
              <a:ext uri="{FF2B5EF4-FFF2-40B4-BE49-F238E27FC236}">
                <a16:creationId xmlns:a16="http://schemas.microsoft.com/office/drawing/2014/main" id="{6E3352EF-29CA-DE7F-80A7-EACA97B22C25}"/>
              </a:ext>
            </a:extLst>
          </p:cNvPr>
          <p:cNvSpPr txBox="1">
            <a:spLocks/>
          </p:cNvSpPr>
          <p:nvPr>
            <p:custDataLst>
              <p:tags r:id="rId119"/>
            </p:custDataLst>
          </p:nvPr>
        </p:nvSpPr>
        <p:spPr>
          <a:xfrm>
            <a:off x="8062032" y="4188462"/>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Group</a:t>
            </a:r>
            <a:r>
              <a:rPr lang="en-US" sz="1200" baseline="30000"/>
              <a:t>3</a:t>
            </a:r>
            <a:endParaRPr lang="en-US" sz="1200"/>
          </a:p>
        </p:txBody>
      </p:sp>
      <p:sp>
        <p:nvSpPr>
          <p:cNvPr id="111" name="TextBox 110">
            <a:extLst>
              <a:ext uri="{FF2B5EF4-FFF2-40B4-BE49-F238E27FC236}">
                <a16:creationId xmlns:a16="http://schemas.microsoft.com/office/drawing/2014/main" id="{94998DCF-2D7C-D815-B3CF-12E5E9652063}"/>
              </a:ext>
            </a:extLst>
          </p:cNvPr>
          <p:cNvSpPr txBox="1">
            <a:spLocks/>
          </p:cNvSpPr>
          <p:nvPr>
            <p:custDataLst>
              <p:tags r:id="rId120"/>
            </p:custDataLst>
          </p:nvPr>
        </p:nvSpPr>
        <p:spPr>
          <a:xfrm>
            <a:off x="8062032" y="1276485"/>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112" name="TextBox 111">
            <a:extLst>
              <a:ext uri="{FF2B5EF4-FFF2-40B4-BE49-F238E27FC236}">
                <a16:creationId xmlns:a16="http://schemas.microsoft.com/office/drawing/2014/main" id="{E4A0352A-F6E6-5DEA-2D27-4105B3BA4B39}"/>
              </a:ext>
            </a:extLst>
          </p:cNvPr>
          <p:cNvSpPr txBox="1">
            <a:spLocks/>
          </p:cNvSpPr>
          <p:nvPr>
            <p:custDataLst>
              <p:tags r:id="rId121"/>
            </p:custDataLst>
          </p:nvPr>
        </p:nvSpPr>
        <p:spPr>
          <a:xfrm>
            <a:off x="8062032" y="1600038"/>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113" name="TextBox 112">
            <a:extLst>
              <a:ext uri="{FF2B5EF4-FFF2-40B4-BE49-F238E27FC236}">
                <a16:creationId xmlns:a16="http://schemas.microsoft.com/office/drawing/2014/main" id="{3CA0599D-BF20-9BA8-EE0D-A65BCAAB8D67}"/>
              </a:ext>
            </a:extLst>
          </p:cNvPr>
          <p:cNvSpPr txBox="1">
            <a:spLocks/>
          </p:cNvSpPr>
          <p:nvPr>
            <p:custDataLst>
              <p:tags r:id="rId122"/>
            </p:custDataLst>
          </p:nvPr>
        </p:nvSpPr>
        <p:spPr>
          <a:xfrm>
            <a:off x="8062032" y="1923591"/>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114" name="TextBox 113">
            <a:extLst>
              <a:ext uri="{FF2B5EF4-FFF2-40B4-BE49-F238E27FC236}">
                <a16:creationId xmlns:a16="http://schemas.microsoft.com/office/drawing/2014/main" id="{E3A80ACD-EB2D-A1BA-5963-EF5710C2F47E}"/>
              </a:ext>
            </a:extLst>
          </p:cNvPr>
          <p:cNvSpPr txBox="1">
            <a:spLocks/>
          </p:cNvSpPr>
          <p:nvPr>
            <p:custDataLst>
              <p:tags r:id="rId123"/>
            </p:custDataLst>
          </p:nvPr>
        </p:nvSpPr>
        <p:spPr>
          <a:xfrm>
            <a:off x="8062032" y="2247144"/>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115" name="TextBox 114">
            <a:extLst>
              <a:ext uri="{FF2B5EF4-FFF2-40B4-BE49-F238E27FC236}">
                <a16:creationId xmlns:a16="http://schemas.microsoft.com/office/drawing/2014/main" id="{C97F2F2B-E205-D5D6-12C6-B119C945EA12}"/>
              </a:ext>
            </a:extLst>
          </p:cNvPr>
          <p:cNvSpPr txBox="1">
            <a:spLocks/>
          </p:cNvSpPr>
          <p:nvPr>
            <p:custDataLst>
              <p:tags r:id="rId124"/>
            </p:custDataLst>
          </p:nvPr>
        </p:nvSpPr>
        <p:spPr>
          <a:xfrm>
            <a:off x="8062032" y="2570697"/>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116" name="TextBox 115">
            <a:extLst>
              <a:ext uri="{FF2B5EF4-FFF2-40B4-BE49-F238E27FC236}">
                <a16:creationId xmlns:a16="http://schemas.microsoft.com/office/drawing/2014/main" id="{6F5A5F9B-6124-E0C4-CE19-FD67B44C9D19}"/>
              </a:ext>
            </a:extLst>
          </p:cNvPr>
          <p:cNvSpPr txBox="1">
            <a:spLocks/>
          </p:cNvSpPr>
          <p:nvPr>
            <p:custDataLst>
              <p:tags r:id="rId125"/>
            </p:custDataLst>
          </p:nvPr>
        </p:nvSpPr>
        <p:spPr>
          <a:xfrm>
            <a:off x="8062032" y="2894250"/>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117" name="TextBox 116">
            <a:extLst>
              <a:ext uri="{FF2B5EF4-FFF2-40B4-BE49-F238E27FC236}">
                <a16:creationId xmlns:a16="http://schemas.microsoft.com/office/drawing/2014/main" id="{D060933E-6912-65E1-5DF9-95FEB73B288F}"/>
              </a:ext>
            </a:extLst>
          </p:cNvPr>
          <p:cNvSpPr txBox="1">
            <a:spLocks/>
          </p:cNvSpPr>
          <p:nvPr>
            <p:custDataLst>
              <p:tags r:id="rId126"/>
            </p:custDataLst>
          </p:nvPr>
        </p:nvSpPr>
        <p:spPr>
          <a:xfrm>
            <a:off x="8062032" y="3217803"/>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118" name="TextBox 117">
            <a:extLst>
              <a:ext uri="{FF2B5EF4-FFF2-40B4-BE49-F238E27FC236}">
                <a16:creationId xmlns:a16="http://schemas.microsoft.com/office/drawing/2014/main" id="{535B5EAC-FA90-304B-3B5E-83ADFB421B9E}"/>
              </a:ext>
            </a:extLst>
          </p:cNvPr>
          <p:cNvSpPr txBox="1">
            <a:spLocks/>
          </p:cNvSpPr>
          <p:nvPr>
            <p:custDataLst>
              <p:tags r:id="rId127"/>
            </p:custDataLst>
          </p:nvPr>
        </p:nvSpPr>
        <p:spPr>
          <a:xfrm>
            <a:off x="8062032" y="3541356"/>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119" name="TextBox 118">
            <a:extLst>
              <a:ext uri="{FF2B5EF4-FFF2-40B4-BE49-F238E27FC236}">
                <a16:creationId xmlns:a16="http://schemas.microsoft.com/office/drawing/2014/main" id="{A03BB6D9-E30D-533B-3D73-0E436D909AE5}"/>
              </a:ext>
            </a:extLst>
          </p:cNvPr>
          <p:cNvSpPr txBox="1">
            <a:spLocks/>
          </p:cNvSpPr>
          <p:nvPr>
            <p:custDataLst>
              <p:tags r:id="rId128"/>
            </p:custDataLst>
          </p:nvPr>
        </p:nvSpPr>
        <p:spPr>
          <a:xfrm>
            <a:off x="8062032" y="3864909"/>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120" name="TextBox 119">
            <a:extLst>
              <a:ext uri="{FF2B5EF4-FFF2-40B4-BE49-F238E27FC236}">
                <a16:creationId xmlns:a16="http://schemas.microsoft.com/office/drawing/2014/main" id="{BDB95EB6-18CC-FBB2-EE9B-F0687B6B7BC0}"/>
              </a:ext>
            </a:extLst>
          </p:cNvPr>
          <p:cNvSpPr txBox="1">
            <a:spLocks/>
          </p:cNvSpPr>
          <p:nvPr>
            <p:custDataLst>
              <p:tags r:id="rId129"/>
            </p:custDataLst>
          </p:nvPr>
        </p:nvSpPr>
        <p:spPr>
          <a:xfrm>
            <a:off x="8062032" y="4835568"/>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121" name="TextBox 120">
            <a:extLst>
              <a:ext uri="{FF2B5EF4-FFF2-40B4-BE49-F238E27FC236}">
                <a16:creationId xmlns:a16="http://schemas.microsoft.com/office/drawing/2014/main" id="{E3E2F19A-3086-CEC3-5D02-ED5C9426EAF8}"/>
              </a:ext>
            </a:extLst>
          </p:cNvPr>
          <p:cNvSpPr txBox="1">
            <a:spLocks/>
          </p:cNvSpPr>
          <p:nvPr>
            <p:custDataLst>
              <p:tags r:id="rId130"/>
            </p:custDataLst>
          </p:nvPr>
        </p:nvSpPr>
        <p:spPr>
          <a:xfrm>
            <a:off x="8062032" y="5159121"/>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122" name="TextBox 121">
            <a:extLst>
              <a:ext uri="{FF2B5EF4-FFF2-40B4-BE49-F238E27FC236}">
                <a16:creationId xmlns:a16="http://schemas.microsoft.com/office/drawing/2014/main" id="{1B97F445-AA0D-AC19-84C9-6619CC438E33}"/>
              </a:ext>
            </a:extLst>
          </p:cNvPr>
          <p:cNvSpPr txBox="1">
            <a:spLocks/>
          </p:cNvSpPr>
          <p:nvPr>
            <p:custDataLst>
              <p:tags r:id="rId131"/>
            </p:custDataLst>
          </p:nvPr>
        </p:nvSpPr>
        <p:spPr>
          <a:xfrm>
            <a:off x="8062032" y="5482674"/>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123" name="TextBox 122">
            <a:extLst>
              <a:ext uri="{FF2B5EF4-FFF2-40B4-BE49-F238E27FC236}">
                <a16:creationId xmlns:a16="http://schemas.microsoft.com/office/drawing/2014/main" id="{2A661C34-BD9D-BF4C-A2CA-6C71CB137765}"/>
              </a:ext>
            </a:extLst>
          </p:cNvPr>
          <p:cNvSpPr txBox="1">
            <a:spLocks/>
          </p:cNvSpPr>
          <p:nvPr>
            <p:custDataLst>
              <p:tags r:id="rId132"/>
            </p:custDataLst>
          </p:nvPr>
        </p:nvSpPr>
        <p:spPr>
          <a:xfrm>
            <a:off x="8062032" y="5806226"/>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grpSp>
        <p:nvGrpSpPr>
          <p:cNvPr id="129" name="Group 128">
            <a:extLst>
              <a:ext uri="{FF2B5EF4-FFF2-40B4-BE49-F238E27FC236}">
                <a16:creationId xmlns:a16="http://schemas.microsoft.com/office/drawing/2014/main" id="{2A7349DC-B3D4-3766-6C2D-D9B2364221DA}"/>
              </a:ext>
            </a:extLst>
          </p:cNvPr>
          <p:cNvGrpSpPr/>
          <p:nvPr/>
        </p:nvGrpSpPr>
        <p:grpSpPr>
          <a:xfrm>
            <a:off x="5907194" y="1219200"/>
            <a:ext cx="5863789" cy="4505505"/>
            <a:chOff x="594424" y="1219200"/>
            <a:chExt cx="11089576" cy="4505505"/>
          </a:xfrm>
        </p:grpSpPr>
        <p:cxnSp>
          <p:nvCxnSpPr>
            <p:cNvPr id="130" name="Straight Connector 129">
              <a:extLst>
                <a:ext uri="{FF2B5EF4-FFF2-40B4-BE49-F238E27FC236}">
                  <a16:creationId xmlns:a16="http://schemas.microsoft.com/office/drawing/2014/main" id="{576DBA85-E7FA-5F16-2AF3-76F716BFB598}"/>
                </a:ext>
              </a:extLst>
            </p:cNvPr>
            <p:cNvCxnSpPr>
              <a:cxnSpLocks/>
            </p:cNvCxnSpPr>
            <p:nvPr/>
          </p:nvCxnSpPr>
          <p:spPr>
            <a:xfrm>
              <a:off x="594424" y="1219200"/>
              <a:ext cx="11072813" cy="0"/>
            </a:xfrm>
            <a:prstGeom prst="line">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58BFDB5-517F-3167-D270-DF255AF1728F}"/>
                </a:ext>
              </a:extLst>
            </p:cNvPr>
            <p:cNvCxnSpPr>
              <a:cxnSpLocks/>
            </p:cNvCxnSpPr>
            <p:nvPr/>
          </p:nvCxnSpPr>
          <p:spPr>
            <a:xfrm>
              <a:off x="594424" y="1550951"/>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41D7BD01-DA39-8ADE-A7E3-BD103CF587AC}"/>
                </a:ext>
              </a:extLst>
            </p:cNvPr>
            <p:cNvCxnSpPr>
              <a:cxnSpLocks/>
            </p:cNvCxnSpPr>
            <p:nvPr/>
          </p:nvCxnSpPr>
          <p:spPr>
            <a:xfrm>
              <a:off x="594424" y="1872009"/>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4D517A-A566-7C90-C2DE-82E1FD72C59B}"/>
                </a:ext>
              </a:extLst>
            </p:cNvPr>
            <p:cNvCxnSpPr>
              <a:cxnSpLocks/>
            </p:cNvCxnSpPr>
            <p:nvPr/>
          </p:nvCxnSpPr>
          <p:spPr>
            <a:xfrm>
              <a:off x="594424" y="2193067"/>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8D58C76A-08D1-D5E4-F263-45E0305EDFC6}"/>
                </a:ext>
              </a:extLst>
            </p:cNvPr>
            <p:cNvCxnSpPr>
              <a:cxnSpLocks/>
            </p:cNvCxnSpPr>
            <p:nvPr/>
          </p:nvCxnSpPr>
          <p:spPr>
            <a:xfrm>
              <a:off x="594424" y="2514125"/>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FE40289C-6B45-3446-A564-778F35E886D8}"/>
                </a:ext>
              </a:extLst>
            </p:cNvPr>
            <p:cNvCxnSpPr>
              <a:cxnSpLocks/>
            </p:cNvCxnSpPr>
            <p:nvPr/>
          </p:nvCxnSpPr>
          <p:spPr>
            <a:xfrm>
              <a:off x="594424" y="2835183"/>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6D752E7-6B5E-2E6C-41D5-A7289904376A}"/>
                </a:ext>
              </a:extLst>
            </p:cNvPr>
            <p:cNvCxnSpPr>
              <a:cxnSpLocks/>
            </p:cNvCxnSpPr>
            <p:nvPr/>
          </p:nvCxnSpPr>
          <p:spPr>
            <a:xfrm>
              <a:off x="594424" y="3156241"/>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D8D90F42-18B3-CB68-F429-8112C435D7EA}"/>
                </a:ext>
              </a:extLst>
            </p:cNvPr>
            <p:cNvCxnSpPr>
              <a:cxnSpLocks/>
            </p:cNvCxnSpPr>
            <p:nvPr/>
          </p:nvCxnSpPr>
          <p:spPr>
            <a:xfrm>
              <a:off x="594424" y="3477299"/>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91AA1B6F-332E-A42B-29B7-362B6B4D94EA}"/>
                </a:ext>
              </a:extLst>
            </p:cNvPr>
            <p:cNvCxnSpPr>
              <a:cxnSpLocks/>
            </p:cNvCxnSpPr>
            <p:nvPr/>
          </p:nvCxnSpPr>
          <p:spPr>
            <a:xfrm>
              <a:off x="594424" y="3798357"/>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22A6739C-C7C8-A6B1-440A-0A42515B6CF8}"/>
                </a:ext>
              </a:extLst>
            </p:cNvPr>
            <p:cNvCxnSpPr>
              <a:cxnSpLocks/>
            </p:cNvCxnSpPr>
            <p:nvPr/>
          </p:nvCxnSpPr>
          <p:spPr>
            <a:xfrm>
              <a:off x="594424" y="4119415"/>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A6557F67-B747-FB91-B57F-6E888054EF1E}"/>
                </a:ext>
              </a:extLst>
            </p:cNvPr>
            <p:cNvCxnSpPr>
              <a:cxnSpLocks/>
            </p:cNvCxnSpPr>
            <p:nvPr/>
          </p:nvCxnSpPr>
          <p:spPr>
            <a:xfrm>
              <a:off x="594424" y="4440473"/>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FA2A897-7BE8-53F4-53AF-FD90804011C2}"/>
                </a:ext>
              </a:extLst>
            </p:cNvPr>
            <p:cNvCxnSpPr>
              <a:cxnSpLocks/>
            </p:cNvCxnSpPr>
            <p:nvPr/>
          </p:nvCxnSpPr>
          <p:spPr>
            <a:xfrm>
              <a:off x="594424" y="4761531"/>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A31C4AC2-7209-31A1-90D2-43715CD70F10}"/>
                </a:ext>
              </a:extLst>
            </p:cNvPr>
            <p:cNvCxnSpPr>
              <a:cxnSpLocks/>
            </p:cNvCxnSpPr>
            <p:nvPr/>
          </p:nvCxnSpPr>
          <p:spPr>
            <a:xfrm>
              <a:off x="594424" y="5082589"/>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CF6A0B3C-8111-B053-C7B8-5D278C3F02C2}"/>
                </a:ext>
              </a:extLst>
            </p:cNvPr>
            <p:cNvCxnSpPr>
              <a:cxnSpLocks/>
            </p:cNvCxnSpPr>
            <p:nvPr/>
          </p:nvCxnSpPr>
          <p:spPr>
            <a:xfrm>
              <a:off x="594424" y="5724705"/>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1AED4DC7-9184-29F8-EB66-7DFAE11853E4}"/>
                </a:ext>
              </a:extLst>
            </p:cNvPr>
            <p:cNvCxnSpPr>
              <a:cxnSpLocks/>
            </p:cNvCxnSpPr>
            <p:nvPr/>
          </p:nvCxnSpPr>
          <p:spPr>
            <a:xfrm>
              <a:off x="594424" y="5403647"/>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145" name="Group 144">
            <a:extLst>
              <a:ext uri="{FF2B5EF4-FFF2-40B4-BE49-F238E27FC236}">
                <a16:creationId xmlns:a16="http://schemas.microsoft.com/office/drawing/2014/main" id="{86424AD6-000D-CAE2-13A5-6B0A5FD62232}"/>
              </a:ext>
            </a:extLst>
          </p:cNvPr>
          <p:cNvGrpSpPr/>
          <p:nvPr/>
        </p:nvGrpSpPr>
        <p:grpSpPr>
          <a:xfrm>
            <a:off x="554736" y="1219200"/>
            <a:ext cx="5249201" cy="4505505"/>
            <a:chOff x="594424" y="1219200"/>
            <a:chExt cx="11089576" cy="4505505"/>
          </a:xfrm>
        </p:grpSpPr>
        <p:cxnSp>
          <p:nvCxnSpPr>
            <p:cNvPr id="146" name="Straight Connector 145">
              <a:extLst>
                <a:ext uri="{FF2B5EF4-FFF2-40B4-BE49-F238E27FC236}">
                  <a16:creationId xmlns:a16="http://schemas.microsoft.com/office/drawing/2014/main" id="{680111B8-AB33-0A6E-3EB3-92CC31A2CE57}"/>
                </a:ext>
              </a:extLst>
            </p:cNvPr>
            <p:cNvCxnSpPr>
              <a:cxnSpLocks/>
            </p:cNvCxnSpPr>
            <p:nvPr/>
          </p:nvCxnSpPr>
          <p:spPr>
            <a:xfrm>
              <a:off x="594424" y="1219200"/>
              <a:ext cx="11072813" cy="0"/>
            </a:xfrm>
            <a:prstGeom prst="line">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9DA8683B-9980-EDDF-325D-BE36C361A571}"/>
                </a:ext>
              </a:extLst>
            </p:cNvPr>
            <p:cNvCxnSpPr>
              <a:cxnSpLocks/>
            </p:cNvCxnSpPr>
            <p:nvPr/>
          </p:nvCxnSpPr>
          <p:spPr>
            <a:xfrm>
              <a:off x="594424" y="1550951"/>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ED3579A9-0DB5-D4A3-5ED4-891A64046C5F}"/>
                </a:ext>
              </a:extLst>
            </p:cNvPr>
            <p:cNvCxnSpPr>
              <a:cxnSpLocks/>
            </p:cNvCxnSpPr>
            <p:nvPr/>
          </p:nvCxnSpPr>
          <p:spPr>
            <a:xfrm>
              <a:off x="594424" y="1872009"/>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39D08461-EA96-6E69-4AE5-292937DD1825}"/>
                </a:ext>
              </a:extLst>
            </p:cNvPr>
            <p:cNvCxnSpPr>
              <a:cxnSpLocks/>
            </p:cNvCxnSpPr>
            <p:nvPr/>
          </p:nvCxnSpPr>
          <p:spPr>
            <a:xfrm>
              <a:off x="594424" y="2193067"/>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195EF2FE-B022-765C-0E82-45A106A16AF3}"/>
                </a:ext>
              </a:extLst>
            </p:cNvPr>
            <p:cNvCxnSpPr>
              <a:cxnSpLocks/>
            </p:cNvCxnSpPr>
            <p:nvPr/>
          </p:nvCxnSpPr>
          <p:spPr>
            <a:xfrm>
              <a:off x="594424" y="2514125"/>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3BA01E11-8D45-6C76-4B54-452B58F37A9A}"/>
                </a:ext>
              </a:extLst>
            </p:cNvPr>
            <p:cNvCxnSpPr>
              <a:cxnSpLocks/>
            </p:cNvCxnSpPr>
            <p:nvPr/>
          </p:nvCxnSpPr>
          <p:spPr>
            <a:xfrm>
              <a:off x="594424" y="2835183"/>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E5F69491-3E82-A20B-2DBB-2E300B9369DA}"/>
                </a:ext>
              </a:extLst>
            </p:cNvPr>
            <p:cNvCxnSpPr>
              <a:cxnSpLocks/>
            </p:cNvCxnSpPr>
            <p:nvPr/>
          </p:nvCxnSpPr>
          <p:spPr>
            <a:xfrm>
              <a:off x="594424" y="3156241"/>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FB853CCE-5737-83EB-BD29-B17C99F4B917}"/>
                </a:ext>
              </a:extLst>
            </p:cNvPr>
            <p:cNvCxnSpPr>
              <a:cxnSpLocks/>
            </p:cNvCxnSpPr>
            <p:nvPr/>
          </p:nvCxnSpPr>
          <p:spPr>
            <a:xfrm>
              <a:off x="594424" y="3477299"/>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5132EFC2-94B9-47CE-F6B2-E745EF0060D9}"/>
                </a:ext>
              </a:extLst>
            </p:cNvPr>
            <p:cNvCxnSpPr>
              <a:cxnSpLocks/>
            </p:cNvCxnSpPr>
            <p:nvPr/>
          </p:nvCxnSpPr>
          <p:spPr>
            <a:xfrm>
              <a:off x="594424" y="3798357"/>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80A5D058-7F6E-8ED0-6F9A-57E655F2BCD1}"/>
                </a:ext>
              </a:extLst>
            </p:cNvPr>
            <p:cNvCxnSpPr>
              <a:cxnSpLocks/>
            </p:cNvCxnSpPr>
            <p:nvPr/>
          </p:nvCxnSpPr>
          <p:spPr>
            <a:xfrm>
              <a:off x="594424" y="4119415"/>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56B4BA86-0473-AE13-A609-02A0D1B3B191}"/>
                </a:ext>
              </a:extLst>
            </p:cNvPr>
            <p:cNvCxnSpPr>
              <a:cxnSpLocks/>
            </p:cNvCxnSpPr>
            <p:nvPr/>
          </p:nvCxnSpPr>
          <p:spPr>
            <a:xfrm>
              <a:off x="594424" y="4440473"/>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52A01505-8441-B5D6-210D-D88E743F0277}"/>
                </a:ext>
              </a:extLst>
            </p:cNvPr>
            <p:cNvCxnSpPr>
              <a:cxnSpLocks/>
            </p:cNvCxnSpPr>
            <p:nvPr/>
          </p:nvCxnSpPr>
          <p:spPr>
            <a:xfrm>
              <a:off x="594424" y="4761531"/>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DEEAA58E-7D30-4623-BA96-8582598314BF}"/>
                </a:ext>
              </a:extLst>
            </p:cNvPr>
            <p:cNvCxnSpPr>
              <a:cxnSpLocks/>
            </p:cNvCxnSpPr>
            <p:nvPr/>
          </p:nvCxnSpPr>
          <p:spPr>
            <a:xfrm>
              <a:off x="594424" y="5082589"/>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595359B9-8551-D28A-B253-2AEC442C01A7}"/>
                </a:ext>
              </a:extLst>
            </p:cNvPr>
            <p:cNvCxnSpPr>
              <a:cxnSpLocks/>
            </p:cNvCxnSpPr>
            <p:nvPr/>
          </p:nvCxnSpPr>
          <p:spPr>
            <a:xfrm>
              <a:off x="594424" y="5724705"/>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599C8F61-D281-E778-1DF3-3CFCEB17A0EB}"/>
                </a:ext>
              </a:extLst>
            </p:cNvPr>
            <p:cNvCxnSpPr>
              <a:cxnSpLocks/>
            </p:cNvCxnSpPr>
            <p:nvPr/>
          </p:nvCxnSpPr>
          <p:spPr>
            <a:xfrm>
              <a:off x="594424" y="5403647"/>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361789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F422DA-E8D9-9A7D-521D-E5E1DF4AE347}"/>
            </a:ext>
          </a:extLst>
        </p:cNvPr>
        <p:cNvGrpSpPr/>
        <p:nvPr/>
      </p:nvGrpSpPr>
      <p:grpSpPr>
        <a:xfrm>
          <a:off x="0" y="0"/>
          <a:ext cx="0" cy="0"/>
          <a:chOff x="0" y="0"/>
          <a:chExt cx="0" cy="0"/>
        </a:xfrm>
      </p:grpSpPr>
      <p:graphicFrame>
        <p:nvGraphicFramePr>
          <p:cNvPr id="212" name="Object 6" hidden="1">
            <a:extLst>
              <a:ext uri="{FF2B5EF4-FFF2-40B4-BE49-F238E27FC236}">
                <a16:creationId xmlns:a16="http://schemas.microsoft.com/office/drawing/2014/main" id="{EF462318-A2CA-1947-C01C-3B44F1876C59}"/>
              </a:ext>
            </a:extLst>
          </p:cNvPr>
          <p:cNvGraphicFramePr>
            <a:graphicFrameLocks noChangeAspect="1"/>
          </p:cNvGraphicFramePr>
          <p:nvPr>
            <p:custDataLst>
              <p:tags r:id="rId1"/>
            </p:custDataLst>
            <p:extLst>
              <p:ext uri="{D42A27DB-BD31-4B8C-83A1-F6EECF244321}">
                <p14:modId xmlns:p14="http://schemas.microsoft.com/office/powerpoint/2010/main" val="2045262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4" imgW="404" imgH="403" progId="TCLayout.ActiveDocument.1">
                  <p:embed/>
                </p:oleObj>
              </mc:Choice>
              <mc:Fallback>
                <p:oleObj name="think-cell Slide" r:id="rId134" imgW="404" imgH="403" progId="TCLayout.ActiveDocument.1">
                  <p:embed/>
                  <p:pic>
                    <p:nvPicPr>
                      <p:cNvPr id="212" name="Object 6" hidden="1">
                        <a:extLst>
                          <a:ext uri="{FF2B5EF4-FFF2-40B4-BE49-F238E27FC236}">
                            <a16:creationId xmlns:a16="http://schemas.microsoft.com/office/drawing/2014/main" id="{EF462318-A2CA-1947-C01C-3B44F1876C59}"/>
                          </a:ext>
                        </a:extLst>
                      </p:cNvPr>
                      <p:cNvPicPr/>
                      <p:nvPr/>
                    </p:nvPicPr>
                    <p:blipFill>
                      <a:blip r:embed="rId135"/>
                      <a:stretch>
                        <a:fillRect/>
                      </a:stretch>
                    </p:blipFill>
                    <p:spPr>
                      <a:xfrm>
                        <a:off x="1588" y="1588"/>
                        <a:ext cx="1588" cy="1588"/>
                      </a:xfrm>
                      <a:prstGeom prst="rect">
                        <a:avLst/>
                      </a:prstGeom>
                    </p:spPr>
                  </p:pic>
                </p:oleObj>
              </mc:Fallback>
            </mc:AlternateContent>
          </a:graphicData>
        </a:graphic>
      </p:graphicFrame>
      <p:sp>
        <p:nvSpPr>
          <p:cNvPr id="126" name="TextBox 125">
            <a:extLst>
              <a:ext uri="{FF2B5EF4-FFF2-40B4-BE49-F238E27FC236}">
                <a16:creationId xmlns:a16="http://schemas.microsoft.com/office/drawing/2014/main" id="{B1D3F587-2C68-9AAB-49A8-CBE22E0C4029}"/>
              </a:ext>
            </a:extLst>
          </p:cNvPr>
          <p:cNvSpPr txBox="1">
            <a:spLocks/>
          </p:cNvSpPr>
          <p:nvPr>
            <p:custDataLst>
              <p:tags r:id="rId2"/>
            </p:custDataLst>
          </p:nvPr>
        </p:nvSpPr>
        <p:spPr>
          <a:xfrm>
            <a:off x="594424" y="966225"/>
            <a:ext cx="198991"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a:t>
            </a:r>
          </a:p>
        </p:txBody>
      </p:sp>
      <p:sp>
        <p:nvSpPr>
          <p:cNvPr id="127" name="TextBox 126">
            <a:extLst>
              <a:ext uri="{FF2B5EF4-FFF2-40B4-BE49-F238E27FC236}">
                <a16:creationId xmlns:a16="http://schemas.microsoft.com/office/drawing/2014/main" id="{4757216E-6EAA-C974-D23E-6D1ABEB7B21C}"/>
              </a:ext>
            </a:extLst>
          </p:cNvPr>
          <p:cNvSpPr txBox="1">
            <a:spLocks/>
          </p:cNvSpPr>
          <p:nvPr>
            <p:custDataLst>
              <p:tags r:id="rId3"/>
            </p:custDataLst>
          </p:nvPr>
        </p:nvSpPr>
        <p:spPr>
          <a:xfrm>
            <a:off x="889394" y="966225"/>
            <a:ext cx="1658347"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Stakeholder group</a:t>
            </a:r>
          </a:p>
        </p:txBody>
      </p:sp>
      <p:sp>
        <p:nvSpPr>
          <p:cNvPr id="159" name="TextBox 158">
            <a:extLst>
              <a:ext uri="{FF2B5EF4-FFF2-40B4-BE49-F238E27FC236}">
                <a16:creationId xmlns:a16="http://schemas.microsoft.com/office/drawing/2014/main" id="{F414C991-FFD7-A346-76DD-CE44E1189593}"/>
              </a:ext>
            </a:extLst>
          </p:cNvPr>
          <p:cNvSpPr txBox="1">
            <a:spLocks/>
          </p:cNvSpPr>
          <p:nvPr>
            <p:custDataLst>
              <p:tags r:id="rId4"/>
            </p:custDataLst>
          </p:nvPr>
        </p:nvSpPr>
        <p:spPr>
          <a:xfrm>
            <a:off x="3917132" y="966225"/>
            <a:ext cx="2670786"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Organization</a:t>
            </a:r>
          </a:p>
        </p:txBody>
      </p:sp>
      <p:sp>
        <p:nvSpPr>
          <p:cNvPr id="176" name="TextBox 175">
            <a:extLst>
              <a:ext uri="{FF2B5EF4-FFF2-40B4-BE49-F238E27FC236}">
                <a16:creationId xmlns:a16="http://schemas.microsoft.com/office/drawing/2014/main" id="{C0EE4DCB-C80F-BFC1-0375-CA2841B29C14}"/>
              </a:ext>
            </a:extLst>
          </p:cNvPr>
          <p:cNvSpPr txBox="1">
            <a:spLocks/>
          </p:cNvSpPr>
          <p:nvPr>
            <p:custDataLst>
              <p:tags r:id="rId5"/>
            </p:custDataLst>
          </p:nvPr>
        </p:nvSpPr>
        <p:spPr>
          <a:xfrm>
            <a:off x="2790613" y="966225"/>
            <a:ext cx="1240728"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Type</a:t>
            </a:r>
          </a:p>
        </p:txBody>
      </p:sp>
      <p:sp>
        <p:nvSpPr>
          <p:cNvPr id="210" name="1. On-page tracker">
            <a:extLst>
              <a:ext uri="{FF2B5EF4-FFF2-40B4-BE49-F238E27FC236}">
                <a16:creationId xmlns:a16="http://schemas.microsoft.com/office/drawing/2014/main" id="{0F0F2E97-595F-E843-56C4-572E78443748}"/>
              </a:ext>
            </a:extLst>
          </p:cNvPr>
          <p:cNvSpPr txBox="1">
            <a:spLocks/>
          </p:cNvSpPr>
          <p:nvPr>
            <p:custDataLst>
              <p:tags r:id="rId6"/>
            </p:custDataLst>
          </p:nvPr>
        </p:nvSpPr>
        <p:spPr>
          <a:xfrm>
            <a:off x="7634211" y="53539"/>
            <a:ext cx="4049789" cy="123111"/>
          </a:xfrm>
          <a:prstGeom prst="rect">
            <a:avLst/>
          </a:prstGeom>
        </p:spPr>
        <p:txBody>
          <a:bodyPr vert="horz" wrap="square" lIns="0" tIns="0" rIns="0" bIns="0" rtlCol="0" anchor="ctr" anchorCtr="0">
            <a:sp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b="1" i="1"/>
              <a:t>AS OF 1/30/2026</a:t>
            </a:r>
          </a:p>
        </p:txBody>
      </p:sp>
      <p:sp>
        <p:nvSpPr>
          <p:cNvPr id="77" name="TextBox 76">
            <a:extLst>
              <a:ext uri="{FF2B5EF4-FFF2-40B4-BE49-F238E27FC236}">
                <a16:creationId xmlns:a16="http://schemas.microsoft.com/office/drawing/2014/main" id="{97652C69-1519-B23A-2572-73B379E0B640}"/>
              </a:ext>
            </a:extLst>
          </p:cNvPr>
          <p:cNvSpPr txBox="1">
            <a:spLocks/>
          </p:cNvSpPr>
          <p:nvPr>
            <p:custDataLst>
              <p:tags r:id="rId7"/>
            </p:custDataLst>
          </p:nvPr>
        </p:nvSpPr>
        <p:spPr>
          <a:xfrm>
            <a:off x="594424" y="1276485"/>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31</a:t>
            </a:r>
          </a:p>
        </p:txBody>
      </p:sp>
      <p:sp>
        <p:nvSpPr>
          <p:cNvPr id="78" name="TextBox 77">
            <a:extLst>
              <a:ext uri="{FF2B5EF4-FFF2-40B4-BE49-F238E27FC236}">
                <a16:creationId xmlns:a16="http://schemas.microsoft.com/office/drawing/2014/main" id="{F6BEF74C-2AD6-F603-0489-A11C6218A868}"/>
              </a:ext>
            </a:extLst>
          </p:cNvPr>
          <p:cNvSpPr txBox="1">
            <a:spLocks/>
          </p:cNvSpPr>
          <p:nvPr>
            <p:custDataLst>
              <p:tags r:id="rId8"/>
            </p:custDataLst>
          </p:nvPr>
        </p:nvSpPr>
        <p:spPr>
          <a:xfrm>
            <a:off x="889394" y="1276485"/>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Developers</a:t>
            </a:r>
          </a:p>
        </p:txBody>
      </p:sp>
      <p:sp>
        <p:nvSpPr>
          <p:cNvPr id="79" name="TextBox 78">
            <a:extLst>
              <a:ext uri="{FF2B5EF4-FFF2-40B4-BE49-F238E27FC236}">
                <a16:creationId xmlns:a16="http://schemas.microsoft.com/office/drawing/2014/main" id="{A8634B41-D5F6-A9D8-3FF9-8299AAFDE2A3}"/>
              </a:ext>
            </a:extLst>
          </p:cNvPr>
          <p:cNvSpPr txBox="1">
            <a:spLocks/>
          </p:cNvSpPr>
          <p:nvPr>
            <p:custDataLst>
              <p:tags r:id="rId9"/>
            </p:custDataLst>
          </p:nvPr>
        </p:nvSpPr>
        <p:spPr>
          <a:xfrm>
            <a:off x="594424" y="1599895"/>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32</a:t>
            </a:r>
          </a:p>
        </p:txBody>
      </p:sp>
      <p:sp>
        <p:nvSpPr>
          <p:cNvPr id="80" name="TextBox 79">
            <a:extLst>
              <a:ext uri="{FF2B5EF4-FFF2-40B4-BE49-F238E27FC236}">
                <a16:creationId xmlns:a16="http://schemas.microsoft.com/office/drawing/2014/main" id="{AAA68544-77CD-502B-3EB6-782F408A1FFA}"/>
              </a:ext>
            </a:extLst>
          </p:cNvPr>
          <p:cNvSpPr txBox="1">
            <a:spLocks/>
          </p:cNvSpPr>
          <p:nvPr>
            <p:custDataLst>
              <p:tags r:id="rId10"/>
            </p:custDataLst>
          </p:nvPr>
        </p:nvSpPr>
        <p:spPr>
          <a:xfrm>
            <a:off x="889394" y="1599895"/>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Developers</a:t>
            </a:r>
          </a:p>
        </p:txBody>
      </p:sp>
      <p:sp>
        <p:nvSpPr>
          <p:cNvPr id="81" name="TextBox 80">
            <a:extLst>
              <a:ext uri="{FF2B5EF4-FFF2-40B4-BE49-F238E27FC236}">
                <a16:creationId xmlns:a16="http://schemas.microsoft.com/office/drawing/2014/main" id="{D4285F3B-DBB3-6210-69E8-EA5D4A9D6049}"/>
              </a:ext>
            </a:extLst>
          </p:cNvPr>
          <p:cNvSpPr txBox="1">
            <a:spLocks/>
          </p:cNvSpPr>
          <p:nvPr>
            <p:custDataLst>
              <p:tags r:id="rId11"/>
            </p:custDataLst>
          </p:nvPr>
        </p:nvSpPr>
        <p:spPr>
          <a:xfrm>
            <a:off x="594424" y="1923305"/>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33</a:t>
            </a:r>
          </a:p>
        </p:txBody>
      </p:sp>
      <p:sp>
        <p:nvSpPr>
          <p:cNvPr id="82" name="TextBox 81">
            <a:extLst>
              <a:ext uri="{FF2B5EF4-FFF2-40B4-BE49-F238E27FC236}">
                <a16:creationId xmlns:a16="http://schemas.microsoft.com/office/drawing/2014/main" id="{D2BA6C2A-4BAD-21C7-A713-E1BA24822ECE}"/>
              </a:ext>
            </a:extLst>
          </p:cNvPr>
          <p:cNvSpPr txBox="1">
            <a:spLocks/>
          </p:cNvSpPr>
          <p:nvPr>
            <p:custDataLst>
              <p:tags r:id="rId12"/>
            </p:custDataLst>
          </p:nvPr>
        </p:nvSpPr>
        <p:spPr>
          <a:xfrm>
            <a:off x="889394" y="1923305"/>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Developers</a:t>
            </a:r>
          </a:p>
        </p:txBody>
      </p:sp>
      <p:sp>
        <p:nvSpPr>
          <p:cNvPr id="83" name="TextBox 82">
            <a:extLst>
              <a:ext uri="{FF2B5EF4-FFF2-40B4-BE49-F238E27FC236}">
                <a16:creationId xmlns:a16="http://schemas.microsoft.com/office/drawing/2014/main" id="{44DB82CB-ABAA-A309-387D-AEAF781D68A8}"/>
              </a:ext>
            </a:extLst>
          </p:cNvPr>
          <p:cNvSpPr txBox="1">
            <a:spLocks/>
          </p:cNvSpPr>
          <p:nvPr>
            <p:custDataLst>
              <p:tags r:id="rId13"/>
            </p:custDataLst>
          </p:nvPr>
        </p:nvSpPr>
        <p:spPr>
          <a:xfrm>
            <a:off x="594424" y="2246715"/>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34</a:t>
            </a:r>
          </a:p>
        </p:txBody>
      </p:sp>
      <p:sp>
        <p:nvSpPr>
          <p:cNvPr id="84" name="TextBox 83">
            <a:extLst>
              <a:ext uri="{FF2B5EF4-FFF2-40B4-BE49-F238E27FC236}">
                <a16:creationId xmlns:a16="http://schemas.microsoft.com/office/drawing/2014/main" id="{9A9248B2-7FDB-3244-37E0-E9336368E015}"/>
              </a:ext>
            </a:extLst>
          </p:cNvPr>
          <p:cNvSpPr txBox="1">
            <a:spLocks/>
          </p:cNvSpPr>
          <p:nvPr>
            <p:custDataLst>
              <p:tags r:id="rId14"/>
            </p:custDataLst>
          </p:nvPr>
        </p:nvSpPr>
        <p:spPr>
          <a:xfrm>
            <a:off x="889394" y="2246715"/>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Developers</a:t>
            </a:r>
          </a:p>
        </p:txBody>
      </p:sp>
      <p:sp>
        <p:nvSpPr>
          <p:cNvPr id="85" name="TextBox 84">
            <a:extLst>
              <a:ext uri="{FF2B5EF4-FFF2-40B4-BE49-F238E27FC236}">
                <a16:creationId xmlns:a16="http://schemas.microsoft.com/office/drawing/2014/main" id="{FC6F50C2-245F-8BA5-9CA0-B310F5F9FDE6}"/>
              </a:ext>
            </a:extLst>
          </p:cNvPr>
          <p:cNvSpPr txBox="1">
            <a:spLocks/>
          </p:cNvSpPr>
          <p:nvPr>
            <p:custDataLst>
              <p:tags r:id="rId15"/>
            </p:custDataLst>
          </p:nvPr>
        </p:nvSpPr>
        <p:spPr>
          <a:xfrm>
            <a:off x="594424" y="2570125"/>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35</a:t>
            </a:r>
          </a:p>
        </p:txBody>
      </p:sp>
      <p:sp>
        <p:nvSpPr>
          <p:cNvPr id="86" name="TextBox 85">
            <a:extLst>
              <a:ext uri="{FF2B5EF4-FFF2-40B4-BE49-F238E27FC236}">
                <a16:creationId xmlns:a16="http://schemas.microsoft.com/office/drawing/2014/main" id="{673C70F0-7A90-420A-CDBE-22785DBC7B29}"/>
              </a:ext>
            </a:extLst>
          </p:cNvPr>
          <p:cNvSpPr txBox="1">
            <a:spLocks/>
          </p:cNvSpPr>
          <p:nvPr>
            <p:custDataLst>
              <p:tags r:id="rId16"/>
            </p:custDataLst>
          </p:nvPr>
        </p:nvSpPr>
        <p:spPr>
          <a:xfrm>
            <a:off x="889394" y="2570125"/>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Developers</a:t>
            </a:r>
          </a:p>
        </p:txBody>
      </p:sp>
      <p:sp>
        <p:nvSpPr>
          <p:cNvPr id="87" name="TextBox 86">
            <a:extLst>
              <a:ext uri="{FF2B5EF4-FFF2-40B4-BE49-F238E27FC236}">
                <a16:creationId xmlns:a16="http://schemas.microsoft.com/office/drawing/2014/main" id="{4D9C5EC9-8787-AB8E-EC07-047FDAA4E01D}"/>
              </a:ext>
            </a:extLst>
          </p:cNvPr>
          <p:cNvSpPr txBox="1">
            <a:spLocks/>
          </p:cNvSpPr>
          <p:nvPr>
            <p:custDataLst>
              <p:tags r:id="rId17"/>
            </p:custDataLst>
          </p:nvPr>
        </p:nvSpPr>
        <p:spPr>
          <a:xfrm>
            <a:off x="594424" y="2893535"/>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36</a:t>
            </a:r>
          </a:p>
        </p:txBody>
      </p:sp>
      <p:sp>
        <p:nvSpPr>
          <p:cNvPr id="88" name="TextBox 87">
            <a:extLst>
              <a:ext uri="{FF2B5EF4-FFF2-40B4-BE49-F238E27FC236}">
                <a16:creationId xmlns:a16="http://schemas.microsoft.com/office/drawing/2014/main" id="{E5080E82-FA41-A1FA-7AC0-03FC039D30B0}"/>
              </a:ext>
            </a:extLst>
          </p:cNvPr>
          <p:cNvSpPr txBox="1">
            <a:spLocks/>
          </p:cNvSpPr>
          <p:nvPr>
            <p:custDataLst>
              <p:tags r:id="rId18"/>
            </p:custDataLst>
          </p:nvPr>
        </p:nvSpPr>
        <p:spPr>
          <a:xfrm>
            <a:off x="889394" y="2893535"/>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unis</a:t>
            </a:r>
          </a:p>
        </p:txBody>
      </p:sp>
      <p:sp>
        <p:nvSpPr>
          <p:cNvPr id="89" name="TextBox 88">
            <a:extLst>
              <a:ext uri="{FF2B5EF4-FFF2-40B4-BE49-F238E27FC236}">
                <a16:creationId xmlns:a16="http://schemas.microsoft.com/office/drawing/2014/main" id="{B7AA05D0-0D72-4388-A014-8B797C73BCD1}"/>
              </a:ext>
            </a:extLst>
          </p:cNvPr>
          <p:cNvSpPr txBox="1">
            <a:spLocks/>
          </p:cNvSpPr>
          <p:nvPr>
            <p:custDataLst>
              <p:tags r:id="rId19"/>
            </p:custDataLst>
          </p:nvPr>
        </p:nvSpPr>
        <p:spPr>
          <a:xfrm>
            <a:off x="594424" y="3216945"/>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37</a:t>
            </a:r>
          </a:p>
        </p:txBody>
      </p:sp>
      <p:sp>
        <p:nvSpPr>
          <p:cNvPr id="90" name="TextBox 89">
            <a:extLst>
              <a:ext uri="{FF2B5EF4-FFF2-40B4-BE49-F238E27FC236}">
                <a16:creationId xmlns:a16="http://schemas.microsoft.com/office/drawing/2014/main" id="{76CDBE0C-314C-B790-A480-00E438017D45}"/>
              </a:ext>
            </a:extLst>
          </p:cNvPr>
          <p:cNvSpPr txBox="1">
            <a:spLocks/>
          </p:cNvSpPr>
          <p:nvPr>
            <p:custDataLst>
              <p:tags r:id="rId20"/>
            </p:custDataLst>
          </p:nvPr>
        </p:nvSpPr>
        <p:spPr>
          <a:xfrm>
            <a:off x="889394" y="3216945"/>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Co-ops</a:t>
            </a:r>
          </a:p>
        </p:txBody>
      </p:sp>
      <p:sp>
        <p:nvSpPr>
          <p:cNvPr id="91" name="TextBox 90">
            <a:extLst>
              <a:ext uri="{FF2B5EF4-FFF2-40B4-BE49-F238E27FC236}">
                <a16:creationId xmlns:a16="http://schemas.microsoft.com/office/drawing/2014/main" id="{2D074E24-229D-A871-F871-13047D82E459}"/>
              </a:ext>
            </a:extLst>
          </p:cNvPr>
          <p:cNvSpPr txBox="1">
            <a:spLocks/>
          </p:cNvSpPr>
          <p:nvPr>
            <p:custDataLst>
              <p:tags r:id="rId21"/>
            </p:custDataLst>
          </p:nvPr>
        </p:nvSpPr>
        <p:spPr>
          <a:xfrm>
            <a:off x="594424" y="5801876"/>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45</a:t>
            </a:r>
          </a:p>
        </p:txBody>
      </p:sp>
      <p:sp>
        <p:nvSpPr>
          <p:cNvPr id="92" name="TextBox 91">
            <a:extLst>
              <a:ext uri="{FF2B5EF4-FFF2-40B4-BE49-F238E27FC236}">
                <a16:creationId xmlns:a16="http://schemas.microsoft.com/office/drawing/2014/main" id="{712A967B-F073-976F-809B-3726861E2211}"/>
              </a:ext>
            </a:extLst>
          </p:cNvPr>
          <p:cNvSpPr txBox="1">
            <a:spLocks/>
          </p:cNvSpPr>
          <p:nvPr>
            <p:custDataLst>
              <p:tags r:id="rId22"/>
            </p:custDataLst>
          </p:nvPr>
        </p:nvSpPr>
        <p:spPr>
          <a:xfrm>
            <a:off x="889394" y="5801876"/>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Colocators</a:t>
            </a:r>
          </a:p>
        </p:txBody>
      </p:sp>
      <p:sp>
        <p:nvSpPr>
          <p:cNvPr id="93" name="TextBox 92">
            <a:extLst>
              <a:ext uri="{FF2B5EF4-FFF2-40B4-BE49-F238E27FC236}">
                <a16:creationId xmlns:a16="http://schemas.microsoft.com/office/drawing/2014/main" id="{E7C43701-7AD5-0538-8D40-49745740C7E6}"/>
              </a:ext>
            </a:extLst>
          </p:cNvPr>
          <p:cNvSpPr txBox="1">
            <a:spLocks/>
          </p:cNvSpPr>
          <p:nvPr>
            <p:custDataLst>
              <p:tags r:id="rId23"/>
            </p:custDataLst>
          </p:nvPr>
        </p:nvSpPr>
        <p:spPr>
          <a:xfrm>
            <a:off x="594424" y="5486994"/>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44</a:t>
            </a:r>
          </a:p>
        </p:txBody>
      </p:sp>
      <p:sp>
        <p:nvSpPr>
          <p:cNvPr id="94" name="TextBox 93">
            <a:extLst>
              <a:ext uri="{FF2B5EF4-FFF2-40B4-BE49-F238E27FC236}">
                <a16:creationId xmlns:a16="http://schemas.microsoft.com/office/drawing/2014/main" id="{F87BC2C5-8D58-341E-5A38-7E2195CF92B8}"/>
              </a:ext>
            </a:extLst>
          </p:cNvPr>
          <p:cNvSpPr txBox="1">
            <a:spLocks/>
          </p:cNvSpPr>
          <p:nvPr>
            <p:custDataLst>
              <p:tags r:id="rId24"/>
            </p:custDataLst>
          </p:nvPr>
        </p:nvSpPr>
        <p:spPr>
          <a:xfrm>
            <a:off x="889394" y="5486994"/>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Colocators</a:t>
            </a:r>
          </a:p>
        </p:txBody>
      </p:sp>
      <p:sp>
        <p:nvSpPr>
          <p:cNvPr id="95" name="TextBox 94">
            <a:extLst>
              <a:ext uri="{FF2B5EF4-FFF2-40B4-BE49-F238E27FC236}">
                <a16:creationId xmlns:a16="http://schemas.microsoft.com/office/drawing/2014/main" id="{EECB5BC5-FFA0-1CDE-8140-27F21B1BB137}"/>
              </a:ext>
            </a:extLst>
          </p:cNvPr>
          <p:cNvSpPr txBox="1">
            <a:spLocks/>
          </p:cNvSpPr>
          <p:nvPr>
            <p:custDataLst>
              <p:tags r:id="rId25"/>
            </p:custDataLst>
          </p:nvPr>
        </p:nvSpPr>
        <p:spPr>
          <a:xfrm>
            <a:off x="594424" y="5169762"/>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43</a:t>
            </a:r>
          </a:p>
        </p:txBody>
      </p:sp>
      <p:sp>
        <p:nvSpPr>
          <p:cNvPr id="96" name="TextBox 95">
            <a:extLst>
              <a:ext uri="{FF2B5EF4-FFF2-40B4-BE49-F238E27FC236}">
                <a16:creationId xmlns:a16="http://schemas.microsoft.com/office/drawing/2014/main" id="{EACB6BF8-5E4E-E62C-022B-D8EC9D904291}"/>
              </a:ext>
            </a:extLst>
          </p:cNvPr>
          <p:cNvSpPr txBox="1">
            <a:spLocks/>
          </p:cNvSpPr>
          <p:nvPr>
            <p:custDataLst>
              <p:tags r:id="rId26"/>
            </p:custDataLst>
          </p:nvPr>
        </p:nvSpPr>
        <p:spPr>
          <a:xfrm>
            <a:off x="889394" y="5169762"/>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Consumer / Advocacy</a:t>
            </a:r>
          </a:p>
        </p:txBody>
      </p:sp>
      <p:sp>
        <p:nvSpPr>
          <p:cNvPr id="97" name="TextBox 96">
            <a:extLst>
              <a:ext uri="{FF2B5EF4-FFF2-40B4-BE49-F238E27FC236}">
                <a16:creationId xmlns:a16="http://schemas.microsoft.com/office/drawing/2014/main" id="{061E2CB2-4EA5-80FD-1DAC-E0BBCAA17EDC}"/>
              </a:ext>
            </a:extLst>
          </p:cNvPr>
          <p:cNvSpPr txBox="1">
            <a:spLocks/>
          </p:cNvSpPr>
          <p:nvPr>
            <p:custDataLst>
              <p:tags r:id="rId27"/>
            </p:custDataLst>
          </p:nvPr>
        </p:nvSpPr>
        <p:spPr>
          <a:xfrm>
            <a:off x="594424" y="4850175"/>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42</a:t>
            </a:r>
          </a:p>
        </p:txBody>
      </p:sp>
      <p:sp>
        <p:nvSpPr>
          <p:cNvPr id="98" name="TextBox 97">
            <a:extLst>
              <a:ext uri="{FF2B5EF4-FFF2-40B4-BE49-F238E27FC236}">
                <a16:creationId xmlns:a16="http://schemas.microsoft.com/office/drawing/2014/main" id="{837E4534-5DA4-F462-A99B-DF1398B19125}"/>
              </a:ext>
            </a:extLst>
          </p:cNvPr>
          <p:cNvSpPr txBox="1">
            <a:spLocks/>
          </p:cNvSpPr>
          <p:nvPr>
            <p:custDataLst>
              <p:tags r:id="rId28"/>
            </p:custDataLst>
          </p:nvPr>
        </p:nvSpPr>
        <p:spPr>
          <a:xfrm>
            <a:off x="889394" y="4850175"/>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OUs</a:t>
            </a:r>
          </a:p>
        </p:txBody>
      </p:sp>
      <p:sp>
        <p:nvSpPr>
          <p:cNvPr id="99" name="TextBox 98">
            <a:extLst>
              <a:ext uri="{FF2B5EF4-FFF2-40B4-BE49-F238E27FC236}">
                <a16:creationId xmlns:a16="http://schemas.microsoft.com/office/drawing/2014/main" id="{878421D4-7F9A-F391-76F2-3C5530F427A4}"/>
              </a:ext>
            </a:extLst>
          </p:cNvPr>
          <p:cNvSpPr txBox="1">
            <a:spLocks/>
          </p:cNvSpPr>
          <p:nvPr>
            <p:custDataLst>
              <p:tags r:id="rId29"/>
            </p:custDataLst>
          </p:nvPr>
        </p:nvSpPr>
        <p:spPr>
          <a:xfrm>
            <a:off x="594424" y="4528235"/>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41</a:t>
            </a:r>
          </a:p>
        </p:txBody>
      </p:sp>
      <p:sp>
        <p:nvSpPr>
          <p:cNvPr id="100" name="TextBox 99">
            <a:extLst>
              <a:ext uri="{FF2B5EF4-FFF2-40B4-BE49-F238E27FC236}">
                <a16:creationId xmlns:a16="http://schemas.microsoft.com/office/drawing/2014/main" id="{21F870AC-42E1-B714-2769-060F6299C7CB}"/>
              </a:ext>
            </a:extLst>
          </p:cNvPr>
          <p:cNvSpPr txBox="1">
            <a:spLocks/>
          </p:cNvSpPr>
          <p:nvPr>
            <p:custDataLst>
              <p:tags r:id="rId30"/>
            </p:custDataLst>
          </p:nvPr>
        </p:nvSpPr>
        <p:spPr>
          <a:xfrm>
            <a:off x="889394" y="4528235"/>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Developers</a:t>
            </a:r>
          </a:p>
        </p:txBody>
      </p:sp>
      <p:sp>
        <p:nvSpPr>
          <p:cNvPr id="101" name="TextBox 100">
            <a:extLst>
              <a:ext uri="{FF2B5EF4-FFF2-40B4-BE49-F238E27FC236}">
                <a16:creationId xmlns:a16="http://schemas.microsoft.com/office/drawing/2014/main" id="{D78270E1-18E5-FC1C-5461-6B65DC698B68}"/>
              </a:ext>
            </a:extLst>
          </p:cNvPr>
          <p:cNvSpPr txBox="1">
            <a:spLocks/>
          </p:cNvSpPr>
          <p:nvPr>
            <p:custDataLst>
              <p:tags r:id="rId31"/>
            </p:custDataLst>
          </p:nvPr>
        </p:nvSpPr>
        <p:spPr>
          <a:xfrm>
            <a:off x="594424" y="4203942"/>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40</a:t>
            </a:r>
          </a:p>
        </p:txBody>
      </p:sp>
      <p:sp>
        <p:nvSpPr>
          <p:cNvPr id="102" name="TextBox 101">
            <a:extLst>
              <a:ext uri="{FF2B5EF4-FFF2-40B4-BE49-F238E27FC236}">
                <a16:creationId xmlns:a16="http://schemas.microsoft.com/office/drawing/2014/main" id="{E296F898-7909-D571-F4D5-E2376A8B7107}"/>
              </a:ext>
            </a:extLst>
          </p:cNvPr>
          <p:cNvSpPr txBox="1">
            <a:spLocks/>
          </p:cNvSpPr>
          <p:nvPr>
            <p:custDataLst>
              <p:tags r:id="rId32"/>
            </p:custDataLst>
          </p:nvPr>
        </p:nvSpPr>
        <p:spPr>
          <a:xfrm>
            <a:off x="889394" y="4203942"/>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ustrial consumers</a:t>
            </a:r>
          </a:p>
        </p:txBody>
      </p:sp>
      <p:sp>
        <p:nvSpPr>
          <p:cNvPr id="103" name="TextBox 102">
            <a:extLst>
              <a:ext uri="{FF2B5EF4-FFF2-40B4-BE49-F238E27FC236}">
                <a16:creationId xmlns:a16="http://schemas.microsoft.com/office/drawing/2014/main" id="{E6F00D2D-77FA-FF1D-5F07-81E163091A58}"/>
              </a:ext>
            </a:extLst>
          </p:cNvPr>
          <p:cNvSpPr txBox="1">
            <a:spLocks/>
          </p:cNvSpPr>
          <p:nvPr>
            <p:custDataLst>
              <p:tags r:id="rId33"/>
            </p:custDataLst>
          </p:nvPr>
        </p:nvSpPr>
        <p:spPr>
          <a:xfrm>
            <a:off x="594424" y="3877296"/>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39</a:t>
            </a:r>
          </a:p>
        </p:txBody>
      </p:sp>
      <p:sp>
        <p:nvSpPr>
          <p:cNvPr id="104" name="TextBox 103">
            <a:extLst>
              <a:ext uri="{FF2B5EF4-FFF2-40B4-BE49-F238E27FC236}">
                <a16:creationId xmlns:a16="http://schemas.microsoft.com/office/drawing/2014/main" id="{1C4461D3-BC7A-9AA2-1821-E9964A3278B8}"/>
              </a:ext>
            </a:extLst>
          </p:cNvPr>
          <p:cNvSpPr txBox="1">
            <a:spLocks/>
          </p:cNvSpPr>
          <p:nvPr>
            <p:custDataLst>
              <p:tags r:id="rId34"/>
            </p:custDataLst>
          </p:nvPr>
        </p:nvSpPr>
        <p:spPr>
          <a:xfrm>
            <a:off x="889394" y="3877296"/>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ustrial consumers</a:t>
            </a:r>
          </a:p>
        </p:txBody>
      </p:sp>
      <p:sp>
        <p:nvSpPr>
          <p:cNvPr id="105" name="TextBox 104">
            <a:extLst>
              <a:ext uri="{FF2B5EF4-FFF2-40B4-BE49-F238E27FC236}">
                <a16:creationId xmlns:a16="http://schemas.microsoft.com/office/drawing/2014/main" id="{6578ACF2-313B-2EBA-767F-5FBE03FAFA47}"/>
              </a:ext>
            </a:extLst>
          </p:cNvPr>
          <p:cNvSpPr txBox="1">
            <a:spLocks/>
          </p:cNvSpPr>
          <p:nvPr>
            <p:custDataLst>
              <p:tags r:id="rId35"/>
            </p:custDataLst>
          </p:nvPr>
        </p:nvSpPr>
        <p:spPr>
          <a:xfrm>
            <a:off x="594424" y="3548297"/>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38</a:t>
            </a:r>
          </a:p>
        </p:txBody>
      </p:sp>
      <p:sp>
        <p:nvSpPr>
          <p:cNvPr id="106" name="TextBox 105">
            <a:extLst>
              <a:ext uri="{FF2B5EF4-FFF2-40B4-BE49-F238E27FC236}">
                <a16:creationId xmlns:a16="http://schemas.microsoft.com/office/drawing/2014/main" id="{B7F9E3ED-AAAF-7D7A-22F8-C6C00472B071}"/>
              </a:ext>
            </a:extLst>
          </p:cNvPr>
          <p:cNvSpPr txBox="1">
            <a:spLocks/>
          </p:cNvSpPr>
          <p:nvPr>
            <p:custDataLst>
              <p:tags r:id="rId36"/>
            </p:custDataLst>
          </p:nvPr>
        </p:nvSpPr>
        <p:spPr>
          <a:xfrm>
            <a:off x="889394" y="3548297"/>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ustrial consumers</a:t>
            </a:r>
          </a:p>
        </p:txBody>
      </p:sp>
      <p:sp>
        <p:nvSpPr>
          <p:cNvPr id="107" name="TextBox 106">
            <a:extLst>
              <a:ext uri="{FF2B5EF4-FFF2-40B4-BE49-F238E27FC236}">
                <a16:creationId xmlns:a16="http://schemas.microsoft.com/office/drawing/2014/main" id="{8B413D30-71D8-D4A8-649F-3DBBBF6403BF}"/>
              </a:ext>
            </a:extLst>
          </p:cNvPr>
          <p:cNvSpPr txBox="1">
            <a:spLocks/>
          </p:cNvSpPr>
          <p:nvPr>
            <p:custDataLst>
              <p:tags r:id="rId37"/>
            </p:custDataLst>
          </p:nvPr>
        </p:nvSpPr>
        <p:spPr>
          <a:xfrm>
            <a:off x="3917132" y="1276485"/>
            <a:ext cx="27646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Agentic</a:t>
            </a:r>
          </a:p>
        </p:txBody>
      </p:sp>
      <p:sp>
        <p:nvSpPr>
          <p:cNvPr id="211" name="TextBox 210">
            <a:extLst>
              <a:ext uri="{FF2B5EF4-FFF2-40B4-BE49-F238E27FC236}">
                <a16:creationId xmlns:a16="http://schemas.microsoft.com/office/drawing/2014/main" id="{8ED0B14F-CD5C-E262-E19A-05EB12B6299C}"/>
              </a:ext>
            </a:extLst>
          </p:cNvPr>
          <p:cNvSpPr txBox="1">
            <a:spLocks/>
          </p:cNvSpPr>
          <p:nvPr>
            <p:custDataLst>
              <p:tags r:id="rId38"/>
            </p:custDataLst>
          </p:nvPr>
        </p:nvSpPr>
        <p:spPr>
          <a:xfrm>
            <a:off x="3917132" y="1599895"/>
            <a:ext cx="27646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Juvo</a:t>
            </a:r>
          </a:p>
        </p:txBody>
      </p:sp>
      <p:sp>
        <p:nvSpPr>
          <p:cNvPr id="213" name="TextBox 212">
            <a:extLst>
              <a:ext uri="{FF2B5EF4-FFF2-40B4-BE49-F238E27FC236}">
                <a16:creationId xmlns:a16="http://schemas.microsoft.com/office/drawing/2014/main" id="{3059DC78-634B-9EB2-C563-E7F432231C89}"/>
              </a:ext>
            </a:extLst>
          </p:cNvPr>
          <p:cNvSpPr txBox="1">
            <a:spLocks/>
          </p:cNvSpPr>
          <p:nvPr>
            <p:custDataLst>
              <p:tags r:id="rId39"/>
            </p:custDataLst>
          </p:nvPr>
        </p:nvSpPr>
        <p:spPr>
          <a:xfrm>
            <a:off x="3917132" y="1923305"/>
            <a:ext cx="27646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Rowan Digital Infrastructure</a:t>
            </a:r>
          </a:p>
        </p:txBody>
      </p:sp>
      <p:sp>
        <p:nvSpPr>
          <p:cNvPr id="214" name="TextBox 213">
            <a:extLst>
              <a:ext uri="{FF2B5EF4-FFF2-40B4-BE49-F238E27FC236}">
                <a16:creationId xmlns:a16="http://schemas.microsoft.com/office/drawing/2014/main" id="{50802B11-C0BD-891F-52B2-AEAC6D6632CD}"/>
              </a:ext>
            </a:extLst>
          </p:cNvPr>
          <p:cNvSpPr txBox="1">
            <a:spLocks/>
          </p:cNvSpPr>
          <p:nvPr>
            <p:custDataLst>
              <p:tags r:id="rId40"/>
            </p:custDataLst>
          </p:nvPr>
        </p:nvSpPr>
        <p:spPr>
          <a:xfrm>
            <a:off x="3917132" y="2246715"/>
            <a:ext cx="27646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SP Solar</a:t>
            </a:r>
          </a:p>
        </p:txBody>
      </p:sp>
      <p:sp>
        <p:nvSpPr>
          <p:cNvPr id="215" name="TextBox 214">
            <a:extLst>
              <a:ext uri="{FF2B5EF4-FFF2-40B4-BE49-F238E27FC236}">
                <a16:creationId xmlns:a16="http://schemas.microsoft.com/office/drawing/2014/main" id="{ADE5CFFC-4065-7777-83C2-F8026B03C21C}"/>
              </a:ext>
            </a:extLst>
          </p:cNvPr>
          <p:cNvSpPr txBox="1">
            <a:spLocks/>
          </p:cNvSpPr>
          <p:nvPr>
            <p:custDataLst>
              <p:tags r:id="rId41"/>
            </p:custDataLst>
          </p:nvPr>
        </p:nvSpPr>
        <p:spPr>
          <a:xfrm>
            <a:off x="3917132" y="2570125"/>
            <a:ext cx="27646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quez Public Affairs</a:t>
            </a:r>
          </a:p>
        </p:txBody>
      </p:sp>
      <p:sp>
        <p:nvSpPr>
          <p:cNvPr id="216" name="TextBox 215">
            <a:extLst>
              <a:ext uri="{FF2B5EF4-FFF2-40B4-BE49-F238E27FC236}">
                <a16:creationId xmlns:a16="http://schemas.microsoft.com/office/drawing/2014/main" id="{EBA28FF6-9F22-B695-AB28-05A8BCB528AC}"/>
              </a:ext>
            </a:extLst>
          </p:cNvPr>
          <p:cNvSpPr txBox="1">
            <a:spLocks/>
          </p:cNvSpPr>
          <p:nvPr>
            <p:custDataLst>
              <p:tags r:id="rId42"/>
            </p:custDataLst>
          </p:nvPr>
        </p:nvSpPr>
        <p:spPr>
          <a:xfrm>
            <a:off x="3917132" y="2893535"/>
            <a:ext cx="27646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CPS Energy</a:t>
            </a:r>
          </a:p>
        </p:txBody>
      </p:sp>
      <p:sp>
        <p:nvSpPr>
          <p:cNvPr id="217" name="TextBox 216">
            <a:extLst>
              <a:ext uri="{FF2B5EF4-FFF2-40B4-BE49-F238E27FC236}">
                <a16:creationId xmlns:a16="http://schemas.microsoft.com/office/drawing/2014/main" id="{F4FDA3EB-0687-64B1-1661-AC1A73A77ABF}"/>
              </a:ext>
            </a:extLst>
          </p:cNvPr>
          <p:cNvSpPr txBox="1">
            <a:spLocks/>
          </p:cNvSpPr>
          <p:nvPr>
            <p:custDataLst>
              <p:tags r:id="rId43"/>
            </p:custDataLst>
          </p:nvPr>
        </p:nvSpPr>
        <p:spPr>
          <a:xfrm>
            <a:off x="3917132" y="3216945"/>
            <a:ext cx="27646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Pedernales Electric Coop</a:t>
            </a:r>
          </a:p>
        </p:txBody>
      </p:sp>
      <p:sp>
        <p:nvSpPr>
          <p:cNvPr id="218" name="TextBox 217">
            <a:extLst>
              <a:ext uri="{FF2B5EF4-FFF2-40B4-BE49-F238E27FC236}">
                <a16:creationId xmlns:a16="http://schemas.microsoft.com/office/drawing/2014/main" id="{F71A33E7-DE7E-BC26-4838-6DB8AB1F2D0A}"/>
              </a:ext>
            </a:extLst>
          </p:cNvPr>
          <p:cNvSpPr txBox="1">
            <a:spLocks/>
          </p:cNvSpPr>
          <p:nvPr>
            <p:custDataLst>
              <p:tags r:id="rId44"/>
            </p:custDataLst>
          </p:nvPr>
        </p:nvSpPr>
        <p:spPr>
          <a:xfrm>
            <a:off x="3917132" y="5801876"/>
            <a:ext cx="27646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ren</a:t>
            </a:r>
          </a:p>
        </p:txBody>
      </p:sp>
      <p:sp>
        <p:nvSpPr>
          <p:cNvPr id="219" name="TextBox 218">
            <a:extLst>
              <a:ext uri="{FF2B5EF4-FFF2-40B4-BE49-F238E27FC236}">
                <a16:creationId xmlns:a16="http://schemas.microsoft.com/office/drawing/2014/main" id="{C47D7259-642E-5B35-A073-D62F8E3731D7}"/>
              </a:ext>
            </a:extLst>
          </p:cNvPr>
          <p:cNvSpPr txBox="1">
            <a:spLocks/>
          </p:cNvSpPr>
          <p:nvPr>
            <p:custDataLst>
              <p:tags r:id="rId45"/>
            </p:custDataLst>
          </p:nvPr>
        </p:nvSpPr>
        <p:spPr>
          <a:xfrm>
            <a:off x="3917132" y="5486994"/>
            <a:ext cx="27646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DataBank</a:t>
            </a:r>
          </a:p>
        </p:txBody>
      </p:sp>
      <p:sp>
        <p:nvSpPr>
          <p:cNvPr id="220" name="TextBox 219">
            <a:extLst>
              <a:ext uri="{FF2B5EF4-FFF2-40B4-BE49-F238E27FC236}">
                <a16:creationId xmlns:a16="http://schemas.microsoft.com/office/drawing/2014/main" id="{F706F7DF-31C5-4EAF-17B9-EFEDE4ED395D}"/>
              </a:ext>
            </a:extLst>
          </p:cNvPr>
          <p:cNvSpPr txBox="1">
            <a:spLocks/>
          </p:cNvSpPr>
          <p:nvPr>
            <p:custDataLst>
              <p:tags r:id="rId46"/>
            </p:custDataLst>
          </p:nvPr>
        </p:nvSpPr>
        <p:spPr>
          <a:xfrm>
            <a:off x="3917132" y="5169762"/>
            <a:ext cx="27646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Blockchain Council</a:t>
            </a:r>
          </a:p>
        </p:txBody>
      </p:sp>
      <p:sp>
        <p:nvSpPr>
          <p:cNvPr id="221" name="TextBox 220">
            <a:extLst>
              <a:ext uri="{FF2B5EF4-FFF2-40B4-BE49-F238E27FC236}">
                <a16:creationId xmlns:a16="http://schemas.microsoft.com/office/drawing/2014/main" id="{1ADFB147-0DAA-E2D4-76FC-3F8DB0A550D1}"/>
              </a:ext>
            </a:extLst>
          </p:cNvPr>
          <p:cNvSpPr txBox="1">
            <a:spLocks/>
          </p:cNvSpPr>
          <p:nvPr>
            <p:custDataLst>
              <p:tags r:id="rId47"/>
            </p:custDataLst>
          </p:nvPr>
        </p:nvSpPr>
        <p:spPr>
          <a:xfrm>
            <a:off x="3917132" y="4850175"/>
            <a:ext cx="27646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Sharyland</a:t>
            </a:r>
          </a:p>
        </p:txBody>
      </p:sp>
      <p:sp>
        <p:nvSpPr>
          <p:cNvPr id="222" name="TextBox 221">
            <a:extLst>
              <a:ext uri="{FF2B5EF4-FFF2-40B4-BE49-F238E27FC236}">
                <a16:creationId xmlns:a16="http://schemas.microsoft.com/office/drawing/2014/main" id="{3EFA219C-B1D8-748A-CBE9-312F3B153597}"/>
              </a:ext>
            </a:extLst>
          </p:cNvPr>
          <p:cNvSpPr txBox="1">
            <a:spLocks/>
          </p:cNvSpPr>
          <p:nvPr>
            <p:custDataLst>
              <p:tags r:id="rId48"/>
            </p:custDataLst>
          </p:nvPr>
        </p:nvSpPr>
        <p:spPr>
          <a:xfrm>
            <a:off x="3917132" y="4528235"/>
            <a:ext cx="27646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Rose City &amp; Schaper Intl</a:t>
            </a:r>
          </a:p>
        </p:txBody>
      </p:sp>
      <p:sp>
        <p:nvSpPr>
          <p:cNvPr id="223" name="TextBox 222">
            <a:extLst>
              <a:ext uri="{FF2B5EF4-FFF2-40B4-BE49-F238E27FC236}">
                <a16:creationId xmlns:a16="http://schemas.microsoft.com/office/drawing/2014/main" id="{80276089-1CC5-2096-49B4-81055BCC3280}"/>
              </a:ext>
            </a:extLst>
          </p:cNvPr>
          <p:cNvSpPr txBox="1">
            <a:spLocks/>
          </p:cNvSpPr>
          <p:nvPr>
            <p:custDataLst>
              <p:tags r:id="rId49"/>
            </p:custDataLst>
          </p:nvPr>
        </p:nvSpPr>
        <p:spPr>
          <a:xfrm>
            <a:off x="3917132" y="4203942"/>
            <a:ext cx="27646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finium</a:t>
            </a:r>
            <a:endParaRPr lang="en-US" sz="1200" baseline="30000"/>
          </a:p>
        </p:txBody>
      </p:sp>
      <p:sp>
        <p:nvSpPr>
          <p:cNvPr id="224" name="TextBox 223">
            <a:extLst>
              <a:ext uri="{FF2B5EF4-FFF2-40B4-BE49-F238E27FC236}">
                <a16:creationId xmlns:a16="http://schemas.microsoft.com/office/drawing/2014/main" id="{C555BC37-9EF3-BB10-B9F2-A43BD9691A17}"/>
              </a:ext>
            </a:extLst>
          </p:cNvPr>
          <p:cNvSpPr txBox="1">
            <a:spLocks/>
          </p:cNvSpPr>
          <p:nvPr>
            <p:custDataLst>
              <p:tags r:id="rId50"/>
            </p:custDataLst>
          </p:nvPr>
        </p:nvSpPr>
        <p:spPr>
          <a:xfrm>
            <a:off x="3917132" y="3877296"/>
            <a:ext cx="27646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West Texas Digital</a:t>
            </a:r>
          </a:p>
        </p:txBody>
      </p:sp>
      <p:sp>
        <p:nvSpPr>
          <p:cNvPr id="225" name="TextBox 224">
            <a:extLst>
              <a:ext uri="{FF2B5EF4-FFF2-40B4-BE49-F238E27FC236}">
                <a16:creationId xmlns:a16="http://schemas.microsoft.com/office/drawing/2014/main" id="{660972A7-D2E9-4C0E-A3A8-928158E98EAC}"/>
              </a:ext>
            </a:extLst>
          </p:cNvPr>
          <p:cNvSpPr txBox="1">
            <a:spLocks/>
          </p:cNvSpPr>
          <p:nvPr>
            <p:custDataLst>
              <p:tags r:id="rId51"/>
            </p:custDataLst>
          </p:nvPr>
        </p:nvSpPr>
        <p:spPr>
          <a:xfrm>
            <a:off x="3917132" y="3548297"/>
            <a:ext cx="27646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Satoshi</a:t>
            </a:r>
          </a:p>
        </p:txBody>
      </p:sp>
      <p:sp>
        <p:nvSpPr>
          <p:cNvPr id="226" name="TextBox 225">
            <a:extLst>
              <a:ext uri="{FF2B5EF4-FFF2-40B4-BE49-F238E27FC236}">
                <a16:creationId xmlns:a16="http://schemas.microsoft.com/office/drawing/2014/main" id="{390E403E-D279-3863-2DCD-759E41BD48BC}"/>
              </a:ext>
            </a:extLst>
          </p:cNvPr>
          <p:cNvSpPr txBox="1">
            <a:spLocks/>
          </p:cNvSpPr>
          <p:nvPr>
            <p:custDataLst>
              <p:tags r:id="rId52"/>
            </p:custDataLst>
          </p:nvPr>
        </p:nvSpPr>
        <p:spPr>
          <a:xfrm>
            <a:off x="2790613" y="1276485"/>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grpSp>
        <p:nvGrpSpPr>
          <p:cNvPr id="131" name="Group 130">
            <a:extLst>
              <a:ext uri="{FF2B5EF4-FFF2-40B4-BE49-F238E27FC236}">
                <a16:creationId xmlns:a16="http://schemas.microsoft.com/office/drawing/2014/main" id="{579EC683-B273-41BE-4EA7-8AFD05A64BA5}"/>
              </a:ext>
            </a:extLst>
          </p:cNvPr>
          <p:cNvGrpSpPr/>
          <p:nvPr/>
        </p:nvGrpSpPr>
        <p:grpSpPr>
          <a:xfrm>
            <a:off x="594424" y="1219200"/>
            <a:ext cx="5501576" cy="4505505"/>
            <a:chOff x="594424" y="1219200"/>
            <a:chExt cx="11089576" cy="4505505"/>
          </a:xfrm>
        </p:grpSpPr>
        <p:cxnSp>
          <p:nvCxnSpPr>
            <p:cNvPr id="110" name="Straight Connector 109">
              <a:extLst>
                <a:ext uri="{FF2B5EF4-FFF2-40B4-BE49-F238E27FC236}">
                  <a16:creationId xmlns:a16="http://schemas.microsoft.com/office/drawing/2014/main" id="{E51F84F2-C7B9-4739-71B5-428D17FEDD92}"/>
                </a:ext>
              </a:extLst>
            </p:cNvPr>
            <p:cNvCxnSpPr>
              <a:cxnSpLocks/>
            </p:cNvCxnSpPr>
            <p:nvPr/>
          </p:nvCxnSpPr>
          <p:spPr>
            <a:xfrm>
              <a:off x="594424" y="1219200"/>
              <a:ext cx="11072813" cy="0"/>
            </a:xfrm>
            <a:prstGeom prst="line">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A3DE0E87-748E-2658-1F14-FF55EF876AD0}"/>
                </a:ext>
              </a:extLst>
            </p:cNvPr>
            <p:cNvCxnSpPr>
              <a:cxnSpLocks/>
            </p:cNvCxnSpPr>
            <p:nvPr/>
          </p:nvCxnSpPr>
          <p:spPr>
            <a:xfrm>
              <a:off x="594424" y="1550951"/>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43C3EC51-B43F-6303-C1C2-3768D3BC7960}"/>
                </a:ext>
              </a:extLst>
            </p:cNvPr>
            <p:cNvCxnSpPr>
              <a:cxnSpLocks/>
            </p:cNvCxnSpPr>
            <p:nvPr/>
          </p:nvCxnSpPr>
          <p:spPr>
            <a:xfrm>
              <a:off x="594424" y="1872009"/>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39E91973-5F54-C1D4-B664-0B852F457EFB}"/>
                </a:ext>
              </a:extLst>
            </p:cNvPr>
            <p:cNvCxnSpPr>
              <a:cxnSpLocks/>
            </p:cNvCxnSpPr>
            <p:nvPr/>
          </p:nvCxnSpPr>
          <p:spPr>
            <a:xfrm>
              <a:off x="594424" y="2193067"/>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F88907B8-35ED-B1DC-688E-5CD7D8D847EE}"/>
                </a:ext>
              </a:extLst>
            </p:cNvPr>
            <p:cNvCxnSpPr>
              <a:cxnSpLocks/>
            </p:cNvCxnSpPr>
            <p:nvPr/>
          </p:nvCxnSpPr>
          <p:spPr>
            <a:xfrm>
              <a:off x="594424" y="2514125"/>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C779E22B-8547-6192-73E5-D153D89FEBAD}"/>
                </a:ext>
              </a:extLst>
            </p:cNvPr>
            <p:cNvCxnSpPr>
              <a:cxnSpLocks/>
            </p:cNvCxnSpPr>
            <p:nvPr/>
          </p:nvCxnSpPr>
          <p:spPr>
            <a:xfrm>
              <a:off x="594424" y="2835183"/>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3A853D69-ADA8-7CCB-7479-9F765DE0018D}"/>
                </a:ext>
              </a:extLst>
            </p:cNvPr>
            <p:cNvCxnSpPr>
              <a:cxnSpLocks/>
            </p:cNvCxnSpPr>
            <p:nvPr/>
          </p:nvCxnSpPr>
          <p:spPr>
            <a:xfrm>
              <a:off x="594424" y="3156241"/>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21AD6BA7-1C43-4F7A-F77B-8BC613C0B6E4}"/>
                </a:ext>
              </a:extLst>
            </p:cNvPr>
            <p:cNvCxnSpPr>
              <a:cxnSpLocks/>
            </p:cNvCxnSpPr>
            <p:nvPr/>
          </p:nvCxnSpPr>
          <p:spPr>
            <a:xfrm>
              <a:off x="594424" y="3477299"/>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483DBE28-FC28-81CF-24EA-3D75CEEACD36}"/>
                </a:ext>
              </a:extLst>
            </p:cNvPr>
            <p:cNvCxnSpPr>
              <a:cxnSpLocks/>
            </p:cNvCxnSpPr>
            <p:nvPr/>
          </p:nvCxnSpPr>
          <p:spPr>
            <a:xfrm>
              <a:off x="594424" y="3798357"/>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38A5B6FB-1F8C-AFC0-496C-CFB2B243ED40}"/>
                </a:ext>
              </a:extLst>
            </p:cNvPr>
            <p:cNvCxnSpPr>
              <a:cxnSpLocks/>
            </p:cNvCxnSpPr>
            <p:nvPr/>
          </p:nvCxnSpPr>
          <p:spPr>
            <a:xfrm>
              <a:off x="594424" y="4119415"/>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CD49DC2A-348B-9614-C589-E8039F2D94B0}"/>
                </a:ext>
              </a:extLst>
            </p:cNvPr>
            <p:cNvCxnSpPr>
              <a:cxnSpLocks/>
            </p:cNvCxnSpPr>
            <p:nvPr/>
          </p:nvCxnSpPr>
          <p:spPr>
            <a:xfrm>
              <a:off x="594424" y="4440473"/>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4C78F1AB-3663-108F-BFDA-83842D9326B4}"/>
                </a:ext>
              </a:extLst>
            </p:cNvPr>
            <p:cNvCxnSpPr>
              <a:cxnSpLocks/>
            </p:cNvCxnSpPr>
            <p:nvPr/>
          </p:nvCxnSpPr>
          <p:spPr>
            <a:xfrm>
              <a:off x="594424" y="4761531"/>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A314146C-3927-B7C0-C5A9-47F8270D1847}"/>
                </a:ext>
              </a:extLst>
            </p:cNvPr>
            <p:cNvCxnSpPr>
              <a:cxnSpLocks/>
            </p:cNvCxnSpPr>
            <p:nvPr/>
          </p:nvCxnSpPr>
          <p:spPr>
            <a:xfrm>
              <a:off x="594424" y="5082589"/>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678853B0-3E08-E507-CCF0-72ED8A257FE7}"/>
                </a:ext>
              </a:extLst>
            </p:cNvPr>
            <p:cNvCxnSpPr>
              <a:cxnSpLocks/>
            </p:cNvCxnSpPr>
            <p:nvPr/>
          </p:nvCxnSpPr>
          <p:spPr>
            <a:xfrm>
              <a:off x="594424" y="5724705"/>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AF46F4C4-3AB0-BD61-12AE-07AC75FAA8A9}"/>
                </a:ext>
              </a:extLst>
            </p:cNvPr>
            <p:cNvCxnSpPr>
              <a:cxnSpLocks/>
            </p:cNvCxnSpPr>
            <p:nvPr/>
          </p:nvCxnSpPr>
          <p:spPr>
            <a:xfrm>
              <a:off x="594424" y="5403647"/>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273" name="2. Slide Title">
            <a:extLst>
              <a:ext uri="{FF2B5EF4-FFF2-40B4-BE49-F238E27FC236}">
                <a16:creationId xmlns:a16="http://schemas.microsoft.com/office/drawing/2014/main" id="{9DC47D50-6A06-28B5-46CB-A7311CB46962}"/>
              </a:ext>
            </a:extLst>
          </p:cNvPr>
          <p:cNvSpPr>
            <a:spLocks noGrp="1"/>
          </p:cNvSpPr>
          <p:nvPr>
            <p:ph type="title"/>
            <p:custDataLst>
              <p:tags r:id="rId53"/>
            </p:custDataLst>
          </p:nvPr>
        </p:nvSpPr>
        <p:spPr>
          <a:xfrm>
            <a:off x="554736" y="326214"/>
            <a:ext cx="11082528" cy="384721"/>
          </a:xfrm>
        </p:spPr>
        <p:txBody>
          <a:bodyPr vert="horz">
            <a:spAutoFit/>
          </a:bodyPr>
          <a:lstStyle/>
          <a:p>
            <a:r>
              <a:rPr lang="en-US"/>
              <a:t>Stakeholder engagement master list (2/2)</a:t>
            </a:r>
          </a:p>
        </p:txBody>
      </p:sp>
      <p:sp>
        <p:nvSpPr>
          <p:cNvPr id="2" name="TextBox 1">
            <a:extLst>
              <a:ext uri="{FF2B5EF4-FFF2-40B4-BE49-F238E27FC236}">
                <a16:creationId xmlns:a16="http://schemas.microsoft.com/office/drawing/2014/main" id="{5D9694F2-A7B2-BEBF-6121-D8D8B490A5D2}"/>
              </a:ext>
            </a:extLst>
          </p:cNvPr>
          <p:cNvSpPr txBox="1">
            <a:spLocks/>
          </p:cNvSpPr>
          <p:nvPr>
            <p:custDataLst>
              <p:tags r:id="rId54"/>
            </p:custDataLst>
          </p:nvPr>
        </p:nvSpPr>
        <p:spPr>
          <a:xfrm>
            <a:off x="2790613" y="1598004"/>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3" name="TextBox 2">
            <a:extLst>
              <a:ext uri="{FF2B5EF4-FFF2-40B4-BE49-F238E27FC236}">
                <a16:creationId xmlns:a16="http://schemas.microsoft.com/office/drawing/2014/main" id="{535887E3-7144-15B8-90C4-2AA2B29C3F5F}"/>
              </a:ext>
            </a:extLst>
          </p:cNvPr>
          <p:cNvSpPr txBox="1">
            <a:spLocks/>
          </p:cNvSpPr>
          <p:nvPr>
            <p:custDataLst>
              <p:tags r:id="rId55"/>
            </p:custDataLst>
          </p:nvPr>
        </p:nvSpPr>
        <p:spPr>
          <a:xfrm>
            <a:off x="2790613" y="1919523"/>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4" name="TextBox 3">
            <a:extLst>
              <a:ext uri="{FF2B5EF4-FFF2-40B4-BE49-F238E27FC236}">
                <a16:creationId xmlns:a16="http://schemas.microsoft.com/office/drawing/2014/main" id="{33D3D158-BE36-8BBF-BC2C-880DD772B005}"/>
              </a:ext>
            </a:extLst>
          </p:cNvPr>
          <p:cNvSpPr txBox="1">
            <a:spLocks/>
          </p:cNvSpPr>
          <p:nvPr>
            <p:custDataLst>
              <p:tags r:id="rId56"/>
            </p:custDataLst>
          </p:nvPr>
        </p:nvSpPr>
        <p:spPr>
          <a:xfrm>
            <a:off x="2790613" y="2241042"/>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5" name="TextBox 4">
            <a:extLst>
              <a:ext uri="{FF2B5EF4-FFF2-40B4-BE49-F238E27FC236}">
                <a16:creationId xmlns:a16="http://schemas.microsoft.com/office/drawing/2014/main" id="{8A94F700-4081-1D3E-2503-0C2916AF2CC1}"/>
              </a:ext>
            </a:extLst>
          </p:cNvPr>
          <p:cNvSpPr txBox="1">
            <a:spLocks/>
          </p:cNvSpPr>
          <p:nvPr>
            <p:custDataLst>
              <p:tags r:id="rId57"/>
            </p:custDataLst>
          </p:nvPr>
        </p:nvSpPr>
        <p:spPr>
          <a:xfrm>
            <a:off x="2790613" y="2562561"/>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6" name="TextBox 5">
            <a:extLst>
              <a:ext uri="{FF2B5EF4-FFF2-40B4-BE49-F238E27FC236}">
                <a16:creationId xmlns:a16="http://schemas.microsoft.com/office/drawing/2014/main" id="{FAA09882-D36F-AA9E-3359-08F06A67797E}"/>
              </a:ext>
            </a:extLst>
          </p:cNvPr>
          <p:cNvSpPr txBox="1">
            <a:spLocks/>
          </p:cNvSpPr>
          <p:nvPr>
            <p:custDataLst>
              <p:tags r:id="rId58"/>
            </p:custDataLst>
          </p:nvPr>
        </p:nvSpPr>
        <p:spPr>
          <a:xfrm>
            <a:off x="2790613" y="2884080"/>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7" name="TextBox 6">
            <a:extLst>
              <a:ext uri="{FF2B5EF4-FFF2-40B4-BE49-F238E27FC236}">
                <a16:creationId xmlns:a16="http://schemas.microsoft.com/office/drawing/2014/main" id="{2F29C41F-B34E-A018-518C-4223D9250E7E}"/>
              </a:ext>
            </a:extLst>
          </p:cNvPr>
          <p:cNvSpPr txBox="1">
            <a:spLocks/>
          </p:cNvSpPr>
          <p:nvPr>
            <p:custDataLst>
              <p:tags r:id="rId59"/>
            </p:custDataLst>
          </p:nvPr>
        </p:nvSpPr>
        <p:spPr>
          <a:xfrm>
            <a:off x="2790613" y="3205599"/>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8" name="TextBox 7">
            <a:extLst>
              <a:ext uri="{FF2B5EF4-FFF2-40B4-BE49-F238E27FC236}">
                <a16:creationId xmlns:a16="http://schemas.microsoft.com/office/drawing/2014/main" id="{0B1776C9-278E-5E0B-5F02-F61E4465FF7D}"/>
              </a:ext>
            </a:extLst>
          </p:cNvPr>
          <p:cNvSpPr txBox="1">
            <a:spLocks/>
          </p:cNvSpPr>
          <p:nvPr>
            <p:custDataLst>
              <p:tags r:id="rId60"/>
            </p:custDataLst>
          </p:nvPr>
        </p:nvSpPr>
        <p:spPr>
          <a:xfrm>
            <a:off x="2790613" y="3527118"/>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9" name="TextBox 8">
            <a:extLst>
              <a:ext uri="{FF2B5EF4-FFF2-40B4-BE49-F238E27FC236}">
                <a16:creationId xmlns:a16="http://schemas.microsoft.com/office/drawing/2014/main" id="{37CA7F75-2D36-A014-8186-EDBFD6BCB5EB}"/>
              </a:ext>
            </a:extLst>
          </p:cNvPr>
          <p:cNvSpPr txBox="1">
            <a:spLocks/>
          </p:cNvSpPr>
          <p:nvPr>
            <p:custDataLst>
              <p:tags r:id="rId61"/>
            </p:custDataLst>
          </p:nvPr>
        </p:nvSpPr>
        <p:spPr>
          <a:xfrm>
            <a:off x="2790613" y="3848637"/>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10" name="TextBox 9">
            <a:extLst>
              <a:ext uri="{FF2B5EF4-FFF2-40B4-BE49-F238E27FC236}">
                <a16:creationId xmlns:a16="http://schemas.microsoft.com/office/drawing/2014/main" id="{6F0B423E-9F68-0934-36C5-4DE3A2F81872}"/>
              </a:ext>
            </a:extLst>
          </p:cNvPr>
          <p:cNvSpPr txBox="1">
            <a:spLocks/>
          </p:cNvSpPr>
          <p:nvPr>
            <p:custDataLst>
              <p:tags r:id="rId62"/>
            </p:custDataLst>
          </p:nvPr>
        </p:nvSpPr>
        <p:spPr>
          <a:xfrm>
            <a:off x="2790613" y="4170156"/>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11" name="TextBox 10">
            <a:extLst>
              <a:ext uri="{FF2B5EF4-FFF2-40B4-BE49-F238E27FC236}">
                <a16:creationId xmlns:a16="http://schemas.microsoft.com/office/drawing/2014/main" id="{0F5EFDEF-7542-8F1E-17C1-AE621B5CA8B8}"/>
              </a:ext>
            </a:extLst>
          </p:cNvPr>
          <p:cNvSpPr txBox="1">
            <a:spLocks/>
          </p:cNvSpPr>
          <p:nvPr>
            <p:custDataLst>
              <p:tags r:id="rId63"/>
            </p:custDataLst>
          </p:nvPr>
        </p:nvSpPr>
        <p:spPr>
          <a:xfrm>
            <a:off x="2790613" y="4491675"/>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12" name="TextBox 11">
            <a:extLst>
              <a:ext uri="{FF2B5EF4-FFF2-40B4-BE49-F238E27FC236}">
                <a16:creationId xmlns:a16="http://schemas.microsoft.com/office/drawing/2014/main" id="{0282DE5A-98FE-705E-12D2-503A1F21C130}"/>
              </a:ext>
            </a:extLst>
          </p:cNvPr>
          <p:cNvSpPr txBox="1">
            <a:spLocks/>
          </p:cNvSpPr>
          <p:nvPr>
            <p:custDataLst>
              <p:tags r:id="rId64"/>
            </p:custDataLst>
          </p:nvPr>
        </p:nvSpPr>
        <p:spPr>
          <a:xfrm>
            <a:off x="2790613" y="4813194"/>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13" name="TextBox 12">
            <a:extLst>
              <a:ext uri="{FF2B5EF4-FFF2-40B4-BE49-F238E27FC236}">
                <a16:creationId xmlns:a16="http://schemas.microsoft.com/office/drawing/2014/main" id="{7CBC2415-0004-0678-8E50-BEA520B9DE3B}"/>
              </a:ext>
            </a:extLst>
          </p:cNvPr>
          <p:cNvSpPr txBox="1">
            <a:spLocks/>
          </p:cNvSpPr>
          <p:nvPr>
            <p:custDataLst>
              <p:tags r:id="rId65"/>
            </p:custDataLst>
          </p:nvPr>
        </p:nvSpPr>
        <p:spPr>
          <a:xfrm>
            <a:off x="2790613" y="5134713"/>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14" name="TextBox 13">
            <a:extLst>
              <a:ext uri="{FF2B5EF4-FFF2-40B4-BE49-F238E27FC236}">
                <a16:creationId xmlns:a16="http://schemas.microsoft.com/office/drawing/2014/main" id="{A78583E5-1FF5-4929-C9D2-E69553647FB1}"/>
              </a:ext>
            </a:extLst>
          </p:cNvPr>
          <p:cNvSpPr txBox="1">
            <a:spLocks/>
          </p:cNvSpPr>
          <p:nvPr>
            <p:custDataLst>
              <p:tags r:id="rId66"/>
            </p:custDataLst>
          </p:nvPr>
        </p:nvSpPr>
        <p:spPr>
          <a:xfrm>
            <a:off x="2790613" y="5456232"/>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15" name="TextBox 14">
            <a:extLst>
              <a:ext uri="{FF2B5EF4-FFF2-40B4-BE49-F238E27FC236}">
                <a16:creationId xmlns:a16="http://schemas.microsoft.com/office/drawing/2014/main" id="{23E2ECD9-6378-BE7D-57FC-F7CD59438C27}"/>
              </a:ext>
            </a:extLst>
          </p:cNvPr>
          <p:cNvSpPr txBox="1">
            <a:spLocks/>
          </p:cNvSpPr>
          <p:nvPr>
            <p:custDataLst>
              <p:tags r:id="rId67"/>
            </p:custDataLst>
          </p:nvPr>
        </p:nvSpPr>
        <p:spPr>
          <a:xfrm>
            <a:off x="2790613" y="5777751"/>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16" name="TextBox 15">
            <a:extLst>
              <a:ext uri="{FF2B5EF4-FFF2-40B4-BE49-F238E27FC236}">
                <a16:creationId xmlns:a16="http://schemas.microsoft.com/office/drawing/2014/main" id="{E6901FE9-F728-352C-CE11-C224484C1D9D}"/>
              </a:ext>
            </a:extLst>
          </p:cNvPr>
          <p:cNvSpPr txBox="1">
            <a:spLocks/>
          </p:cNvSpPr>
          <p:nvPr>
            <p:custDataLst>
              <p:tags r:id="rId68"/>
            </p:custDataLst>
          </p:nvPr>
        </p:nvSpPr>
        <p:spPr>
          <a:xfrm>
            <a:off x="6291243" y="966225"/>
            <a:ext cx="198991"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a:t>
            </a:r>
          </a:p>
        </p:txBody>
      </p:sp>
      <p:sp>
        <p:nvSpPr>
          <p:cNvPr id="17" name="TextBox 16">
            <a:extLst>
              <a:ext uri="{FF2B5EF4-FFF2-40B4-BE49-F238E27FC236}">
                <a16:creationId xmlns:a16="http://schemas.microsoft.com/office/drawing/2014/main" id="{DB07A3DD-1FA6-9569-5401-FA0559AAFDD3}"/>
              </a:ext>
            </a:extLst>
          </p:cNvPr>
          <p:cNvSpPr txBox="1">
            <a:spLocks/>
          </p:cNvSpPr>
          <p:nvPr>
            <p:custDataLst>
              <p:tags r:id="rId69"/>
            </p:custDataLst>
          </p:nvPr>
        </p:nvSpPr>
        <p:spPr>
          <a:xfrm>
            <a:off x="6573513" y="966225"/>
            <a:ext cx="1658347"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Stakeholder group</a:t>
            </a:r>
          </a:p>
        </p:txBody>
      </p:sp>
      <p:sp>
        <p:nvSpPr>
          <p:cNvPr id="18" name="TextBox 17">
            <a:extLst>
              <a:ext uri="{FF2B5EF4-FFF2-40B4-BE49-F238E27FC236}">
                <a16:creationId xmlns:a16="http://schemas.microsoft.com/office/drawing/2014/main" id="{F2743756-1A72-D360-F1AD-9050E621C84B}"/>
              </a:ext>
            </a:extLst>
          </p:cNvPr>
          <p:cNvSpPr txBox="1">
            <a:spLocks/>
          </p:cNvSpPr>
          <p:nvPr>
            <p:custDataLst>
              <p:tags r:id="rId70"/>
            </p:custDataLst>
          </p:nvPr>
        </p:nvSpPr>
        <p:spPr>
          <a:xfrm>
            <a:off x="9872832" y="966225"/>
            <a:ext cx="2670786"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Organization</a:t>
            </a:r>
          </a:p>
        </p:txBody>
      </p:sp>
      <p:sp>
        <p:nvSpPr>
          <p:cNvPr id="19" name="TextBox 18">
            <a:extLst>
              <a:ext uri="{FF2B5EF4-FFF2-40B4-BE49-F238E27FC236}">
                <a16:creationId xmlns:a16="http://schemas.microsoft.com/office/drawing/2014/main" id="{5308F9AE-BC61-5BA9-00D8-A81359F90493}"/>
              </a:ext>
            </a:extLst>
          </p:cNvPr>
          <p:cNvSpPr txBox="1">
            <a:spLocks/>
          </p:cNvSpPr>
          <p:nvPr>
            <p:custDataLst>
              <p:tags r:id="rId71"/>
            </p:custDataLst>
          </p:nvPr>
        </p:nvSpPr>
        <p:spPr>
          <a:xfrm>
            <a:off x="8531658" y="966225"/>
            <a:ext cx="1240728"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Type</a:t>
            </a:r>
          </a:p>
        </p:txBody>
      </p:sp>
      <p:sp>
        <p:nvSpPr>
          <p:cNvPr id="20" name="TextBox 19">
            <a:extLst>
              <a:ext uri="{FF2B5EF4-FFF2-40B4-BE49-F238E27FC236}">
                <a16:creationId xmlns:a16="http://schemas.microsoft.com/office/drawing/2014/main" id="{DE4AE52A-7DB3-2E61-85DA-FBD6E3694161}"/>
              </a:ext>
            </a:extLst>
          </p:cNvPr>
          <p:cNvSpPr txBox="1">
            <a:spLocks/>
          </p:cNvSpPr>
          <p:nvPr>
            <p:custDataLst>
              <p:tags r:id="rId72"/>
            </p:custDataLst>
          </p:nvPr>
        </p:nvSpPr>
        <p:spPr>
          <a:xfrm>
            <a:off x="6291243" y="1276485"/>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46</a:t>
            </a:r>
          </a:p>
        </p:txBody>
      </p:sp>
      <p:sp>
        <p:nvSpPr>
          <p:cNvPr id="21" name="TextBox 20">
            <a:extLst>
              <a:ext uri="{FF2B5EF4-FFF2-40B4-BE49-F238E27FC236}">
                <a16:creationId xmlns:a16="http://schemas.microsoft.com/office/drawing/2014/main" id="{9AD40C29-6C7E-2382-F2DE-70613B904F86}"/>
              </a:ext>
            </a:extLst>
          </p:cNvPr>
          <p:cNvSpPr txBox="1">
            <a:spLocks/>
          </p:cNvSpPr>
          <p:nvPr>
            <p:custDataLst>
              <p:tags r:id="rId73"/>
            </p:custDataLst>
          </p:nvPr>
        </p:nvSpPr>
        <p:spPr>
          <a:xfrm>
            <a:off x="6573513" y="1276485"/>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Developers</a:t>
            </a:r>
          </a:p>
        </p:txBody>
      </p:sp>
      <p:sp>
        <p:nvSpPr>
          <p:cNvPr id="22" name="TextBox 21">
            <a:extLst>
              <a:ext uri="{FF2B5EF4-FFF2-40B4-BE49-F238E27FC236}">
                <a16:creationId xmlns:a16="http://schemas.microsoft.com/office/drawing/2014/main" id="{75ABE4A8-FF17-4F16-C655-A350AFAFCAE8}"/>
              </a:ext>
            </a:extLst>
          </p:cNvPr>
          <p:cNvSpPr txBox="1">
            <a:spLocks/>
          </p:cNvSpPr>
          <p:nvPr>
            <p:custDataLst>
              <p:tags r:id="rId74"/>
            </p:custDataLst>
          </p:nvPr>
        </p:nvSpPr>
        <p:spPr>
          <a:xfrm>
            <a:off x="6291243" y="1599895"/>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47</a:t>
            </a:r>
          </a:p>
        </p:txBody>
      </p:sp>
      <p:sp>
        <p:nvSpPr>
          <p:cNvPr id="23" name="TextBox 22">
            <a:extLst>
              <a:ext uri="{FF2B5EF4-FFF2-40B4-BE49-F238E27FC236}">
                <a16:creationId xmlns:a16="http://schemas.microsoft.com/office/drawing/2014/main" id="{2C01BD5D-8234-C4AE-5178-1FAA1D7CEFA1}"/>
              </a:ext>
            </a:extLst>
          </p:cNvPr>
          <p:cNvSpPr txBox="1">
            <a:spLocks/>
          </p:cNvSpPr>
          <p:nvPr>
            <p:custDataLst>
              <p:tags r:id="rId75"/>
            </p:custDataLst>
          </p:nvPr>
        </p:nvSpPr>
        <p:spPr>
          <a:xfrm>
            <a:off x="6573513" y="1599895"/>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OUs</a:t>
            </a:r>
          </a:p>
        </p:txBody>
      </p:sp>
      <p:sp>
        <p:nvSpPr>
          <p:cNvPr id="24" name="TextBox 23">
            <a:extLst>
              <a:ext uri="{FF2B5EF4-FFF2-40B4-BE49-F238E27FC236}">
                <a16:creationId xmlns:a16="http://schemas.microsoft.com/office/drawing/2014/main" id="{11906133-2529-61C7-ECB0-DBB707760885}"/>
              </a:ext>
            </a:extLst>
          </p:cNvPr>
          <p:cNvSpPr txBox="1">
            <a:spLocks/>
          </p:cNvSpPr>
          <p:nvPr>
            <p:custDataLst>
              <p:tags r:id="rId76"/>
            </p:custDataLst>
          </p:nvPr>
        </p:nvSpPr>
        <p:spPr>
          <a:xfrm>
            <a:off x="6291243" y="1923305"/>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48</a:t>
            </a:r>
          </a:p>
        </p:txBody>
      </p:sp>
      <p:sp>
        <p:nvSpPr>
          <p:cNvPr id="25" name="TextBox 24">
            <a:extLst>
              <a:ext uri="{FF2B5EF4-FFF2-40B4-BE49-F238E27FC236}">
                <a16:creationId xmlns:a16="http://schemas.microsoft.com/office/drawing/2014/main" id="{621DAD44-0F9C-6DB4-CE2D-404FEE53F630}"/>
              </a:ext>
            </a:extLst>
          </p:cNvPr>
          <p:cNvSpPr txBox="1">
            <a:spLocks/>
          </p:cNvSpPr>
          <p:nvPr>
            <p:custDataLst>
              <p:tags r:id="rId77"/>
            </p:custDataLst>
          </p:nvPr>
        </p:nvSpPr>
        <p:spPr>
          <a:xfrm>
            <a:off x="6573513" y="1923305"/>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Developers</a:t>
            </a:r>
          </a:p>
        </p:txBody>
      </p:sp>
      <p:sp>
        <p:nvSpPr>
          <p:cNvPr id="26" name="TextBox 25">
            <a:extLst>
              <a:ext uri="{FF2B5EF4-FFF2-40B4-BE49-F238E27FC236}">
                <a16:creationId xmlns:a16="http://schemas.microsoft.com/office/drawing/2014/main" id="{FADC342C-E245-FD9C-84D8-C1BDDEDC9162}"/>
              </a:ext>
            </a:extLst>
          </p:cNvPr>
          <p:cNvSpPr txBox="1">
            <a:spLocks/>
          </p:cNvSpPr>
          <p:nvPr>
            <p:custDataLst>
              <p:tags r:id="rId78"/>
            </p:custDataLst>
          </p:nvPr>
        </p:nvSpPr>
        <p:spPr>
          <a:xfrm>
            <a:off x="6291243" y="2246715"/>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49</a:t>
            </a:r>
          </a:p>
        </p:txBody>
      </p:sp>
      <p:sp>
        <p:nvSpPr>
          <p:cNvPr id="27" name="TextBox 26">
            <a:extLst>
              <a:ext uri="{FF2B5EF4-FFF2-40B4-BE49-F238E27FC236}">
                <a16:creationId xmlns:a16="http://schemas.microsoft.com/office/drawing/2014/main" id="{25C35D8D-8906-34D8-C0D3-F8C41EAEE77B}"/>
              </a:ext>
            </a:extLst>
          </p:cNvPr>
          <p:cNvSpPr txBox="1">
            <a:spLocks/>
          </p:cNvSpPr>
          <p:nvPr>
            <p:custDataLst>
              <p:tags r:id="rId79"/>
            </p:custDataLst>
          </p:nvPr>
        </p:nvSpPr>
        <p:spPr>
          <a:xfrm>
            <a:off x="6573513" y="2246715"/>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Hyperscalers</a:t>
            </a:r>
          </a:p>
        </p:txBody>
      </p:sp>
      <p:sp>
        <p:nvSpPr>
          <p:cNvPr id="28" name="TextBox 27">
            <a:extLst>
              <a:ext uri="{FF2B5EF4-FFF2-40B4-BE49-F238E27FC236}">
                <a16:creationId xmlns:a16="http://schemas.microsoft.com/office/drawing/2014/main" id="{17F77FD4-9654-76CF-063F-D8C6218D9E14}"/>
              </a:ext>
            </a:extLst>
          </p:cNvPr>
          <p:cNvSpPr txBox="1">
            <a:spLocks/>
          </p:cNvSpPr>
          <p:nvPr>
            <p:custDataLst>
              <p:tags r:id="rId80"/>
            </p:custDataLst>
          </p:nvPr>
        </p:nvSpPr>
        <p:spPr>
          <a:xfrm>
            <a:off x="6291243" y="2570125"/>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50</a:t>
            </a:r>
          </a:p>
        </p:txBody>
      </p:sp>
      <p:sp>
        <p:nvSpPr>
          <p:cNvPr id="29" name="TextBox 28">
            <a:extLst>
              <a:ext uri="{FF2B5EF4-FFF2-40B4-BE49-F238E27FC236}">
                <a16:creationId xmlns:a16="http://schemas.microsoft.com/office/drawing/2014/main" id="{FBC1D36D-4A2F-46D2-5DB2-7733C96A08AE}"/>
              </a:ext>
            </a:extLst>
          </p:cNvPr>
          <p:cNvSpPr txBox="1">
            <a:spLocks/>
          </p:cNvSpPr>
          <p:nvPr>
            <p:custDataLst>
              <p:tags r:id="rId81"/>
            </p:custDataLst>
          </p:nvPr>
        </p:nvSpPr>
        <p:spPr>
          <a:xfrm>
            <a:off x="6573513" y="2570125"/>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ependent generators</a:t>
            </a:r>
          </a:p>
        </p:txBody>
      </p:sp>
      <p:sp>
        <p:nvSpPr>
          <p:cNvPr id="30" name="TextBox 29">
            <a:extLst>
              <a:ext uri="{FF2B5EF4-FFF2-40B4-BE49-F238E27FC236}">
                <a16:creationId xmlns:a16="http://schemas.microsoft.com/office/drawing/2014/main" id="{7EEF9EF5-94F1-6E1E-6345-8754573F62B6}"/>
              </a:ext>
            </a:extLst>
          </p:cNvPr>
          <p:cNvSpPr txBox="1">
            <a:spLocks/>
          </p:cNvSpPr>
          <p:nvPr>
            <p:custDataLst>
              <p:tags r:id="rId82"/>
            </p:custDataLst>
          </p:nvPr>
        </p:nvSpPr>
        <p:spPr>
          <a:xfrm>
            <a:off x="6291243" y="2893535"/>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51</a:t>
            </a:r>
          </a:p>
        </p:txBody>
      </p:sp>
      <p:sp>
        <p:nvSpPr>
          <p:cNvPr id="31" name="TextBox 30">
            <a:extLst>
              <a:ext uri="{FF2B5EF4-FFF2-40B4-BE49-F238E27FC236}">
                <a16:creationId xmlns:a16="http://schemas.microsoft.com/office/drawing/2014/main" id="{DFFE821C-5B34-C11D-48A5-6E43BE6B8B33}"/>
              </a:ext>
            </a:extLst>
          </p:cNvPr>
          <p:cNvSpPr txBox="1">
            <a:spLocks/>
          </p:cNvSpPr>
          <p:nvPr>
            <p:custDataLst>
              <p:tags r:id="rId83"/>
            </p:custDataLst>
          </p:nvPr>
        </p:nvSpPr>
        <p:spPr>
          <a:xfrm>
            <a:off x="6573513" y="2893535"/>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Developers</a:t>
            </a:r>
          </a:p>
        </p:txBody>
      </p:sp>
      <p:sp>
        <p:nvSpPr>
          <p:cNvPr id="32" name="TextBox 31">
            <a:extLst>
              <a:ext uri="{FF2B5EF4-FFF2-40B4-BE49-F238E27FC236}">
                <a16:creationId xmlns:a16="http://schemas.microsoft.com/office/drawing/2014/main" id="{8E2AD794-4120-7341-AD77-7DD6DA03FECA}"/>
              </a:ext>
            </a:extLst>
          </p:cNvPr>
          <p:cNvSpPr txBox="1">
            <a:spLocks/>
          </p:cNvSpPr>
          <p:nvPr>
            <p:custDataLst>
              <p:tags r:id="rId84"/>
            </p:custDataLst>
          </p:nvPr>
        </p:nvSpPr>
        <p:spPr>
          <a:xfrm>
            <a:off x="6291243" y="3216945"/>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52</a:t>
            </a:r>
          </a:p>
        </p:txBody>
      </p:sp>
      <p:sp>
        <p:nvSpPr>
          <p:cNvPr id="33" name="TextBox 32">
            <a:extLst>
              <a:ext uri="{FF2B5EF4-FFF2-40B4-BE49-F238E27FC236}">
                <a16:creationId xmlns:a16="http://schemas.microsoft.com/office/drawing/2014/main" id="{BBDE9C31-F9A4-6F5B-64CD-411684A46F9C}"/>
              </a:ext>
            </a:extLst>
          </p:cNvPr>
          <p:cNvSpPr txBox="1">
            <a:spLocks/>
          </p:cNvSpPr>
          <p:nvPr>
            <p:custDataLst>
              <p:tags r:id="rId85"/>
            </p:custDataLst>
          </p:nvPr>
        </p:nvSpPr>
        <p:spPr>
          <a:xfrm>
            <a:off x="6573513" y="3216945"/>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Developers</a:t>
            </a:r>
          </a:p>
        </p:txBody>
      </p:sp>
      <p:sp>
        <p:nvSpPr>
          <p:cNvPr id="34" name="TextBox 33">
            <a:extLst>
              <a:ext uri="{FF2B5EF4-FFF2-40B4-BE49-F238E27FC236}">
                <a16:creationId xmlns:a16="http://schemas.microsoft.com/office/drawing/2014/main" id="{810B5556-C334-AD30-5F61-4571DE72CDC1}"/>
              </a:ext>
            </a:extLst>
          </p:cNvPr>
          <p:cNvSpPr txBox="1">
            <a:spLocks/>
          </p:cNvSpPr>
          <p:nvPr>
            <p:custDataLst>
              <p:tags r:id="rId86"/>
            </p:custDataLst>
          </p:nvPr>
        </p:nvSpPr>
        <p:spPr>
          <a:xfrm>
            <a:off x="6291243" y="5801876"/>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60</a:t>
            </a:r>
          </a:p>
        </p:txBody>
      </p:sp>
      <p:sp>
        <p:nvSpPr>
          <p:cNvPr id="35" name="TextBox 34">
            <a:extLst>
              <a:ext uri="{FF2B5EF4-FFF2-40B4-BE49-F238E27FC236}">
                <a16:creationId xmlns:a16="http://schemas.microsoft.com/office/drawing/2014/main" id="{FE44252E-0D5E-F960-7203-F2E62BFCF8F2}"/>
              </a:ext>
            </a:extLst>
          </p:cNvPr>
          <p:cNvSpPr txBox="1">
            <a:spLocks/>
          </p:cNvSpPr>
          <p:nvPr>
            <p:custDataLst>
              <p:tags r:id="rId87"/>
            </p:custDataLst>
          </p:nvPr>
        </p:nvSpPr>
        <p:spPr>
          <a:xfrm>
            <a:off x="6573513" y="5801876"/>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Developers</a:t>
            </a:r>
          </a:p>
        </p:txBody>
      </p:sp>
      <p:sp>
        <p:nvSpPr>
          <p:cNvPr id="36" name="TextBox 35">
            <a:extLst>
              <a:ext uri="{FF2B5EF4-FFF2-40B4-BE49-F238E27FC236}">
                <a16:creationId xmlns:a16="http://schemas.microsoft.com/office/drawing/2014/main" id="{08A1172A-0C31-397D-9BDC-D45B0E553CCA}"/>
              </a:ext>
            </a:extLst>
          </p:cNvPr>
          <p:cNvSpPr txBox="1">
            <a:spLocks/>
          </p:cNvSpPr>
          <p:nvPr>
            <p:custDataLst>
              <p:tags r:id="rId88"/>
            </p:custDataLst>
          </p:nvPr>
        </p:nvSpPr>
        <p:spPr>
          <a:xfrm>
            <a:off x="6291243" y="5486994"/>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59</a:t>
            </a:r>
          </a:p>
        </p:txBody>
      </p:sp>
      <p:sp>
        <p:nvSpPr>
          <p:cNvPr id="37" name="TextBox 36">
            <a:extLst>
              <a:ext uri="{FF2B5EF4-FFF2-40B4-BE49-F238E27FC236}">
                <a16:creationId xmlns:a16="http://schemas.microsoft.com/office/drawing/2014/main" id="{5710D9FA-53CA-EC0A-498B-29F5D80F7D92}"/>
              </a:ext>
            </a:extLst>
          </p:cNvPr>
          <p:cNvSpPr txBox="1">
            <a:spLocks/>
          </p:cNvSpPr>
          <p:nvPr>
            <p:custDataLst>
              <p:tags r:id="rId89"/>
            </p:custDataLst>
          </p:nvPr>
        </p:nvSpPr>
        <p:spPr>
          <a:xfrm>
            <a:off x="6573513" y="5486994"/>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Developers</a:t>
            </a:r>
          </a:p>
        </p:txBody>
      </p:sp>
      <p:sp>
        <p:nvSpPr>
          <p:cNvPr id="38" name="TextBox 37">
            <a:extLst>
              <a:ext uri="{FF2B5EF4-FFF2-40B4-BE49-F238E27FC236}">
                <a16:creationId xmlns:a16="http://schemas.microsoft.com/office/drawing/2014/main" id="{BCA409C3-00CD-29AE-1628-30F9666E1E4D}"/>
              </a:ext>
            </a:extLst>
          </p:cNvPr>
          <p:cNvSpPr txBox="1">
            <a:spLocks/>
          </p:cNvSpPr>
          <p:nvPr>
            <p:custDataLst>
              <p:tags r:id="rId90"/>
            </p:custDataLst>
          </p:nvPr>
        </p:nvSpPr>
        <p:spPr>
          <a:xfrm>
            <a:off x="6291243" y="5169762"/>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58</a:t>
            </a:r>
          </a:p>
        </p:txBody>
      </p:sp>
      <p:sp>
        <p:nvSpPr>
          <p:cNvPr id="39" name="TextBox 38">
            <a:extLst>
              <a:ext uri="{FF2B5EF4-FFF2-40B4-BE49-F238E27FC236}">
                <a16:creationId xmlns:a16="http://schemas.microsoft.com/office/drawing/2014/main" id="{9DBA5746-2768-A574-B98F-4AE6A9D7DD1B}"/>
              </a:ext>
            </a:extLst>
          </p:cNvPr>
          <p:cNvSpPr txBox="1">
            <a:spLocks/>
          </p:cNvSpPr>
          <p:nvPr>
            <p:custDataLst>
              <p:tags r:id="rId91"/>
            </p:custDataLst>
          </p:nvPr>
        </p:nvSpPr>
        <p:spPr>
          <a:xfrm>
            <a:off x="6573513" y="5169762"/>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Developers</a:t>
            </a:r>
          </a:p>
        </p:txBody>
      </p:sp>
      <p:sp>
        <p:nvSpPr>
          <p:cNvPr id="40" name="TextBox 39">
            <a:extLst>
              <a:ext uri="{FF2B5EF4-FFF2-40B4-BE49-F238E27FC236}">
                <a16:creationId xmlns:a16="http://schemas.microsoft.com/office/drawing/2014/main" id="{E3287ED1-944C-3862-B030-A2DD6874E8FF}"/>
              </a:ext>
            </a:extLst>
          </p:cNvPr>
          <p:cNvSpPr txBox="1">
            <a:spLocks/>
          </p:cNvSpPr>
          <p:nvPr>
            <p:custDataLst>
              <p:tags r:id="rId92"/>
            </p:custDataLst>
          </p:nvPr>
        </p:nvSpPr>
        <p:spPr>
          <a:xfrm>
            <a:off x="6291243" y="4850175"/>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57</a:t>
            </a:r>
          </a:p>
        </p:txBody>
      </p:sp>
      <p:sp>
        <p:nvSpPr>
          <p:cNvPr id="41" name="TextBox 40">
            <a:extLst>
              <a:ext uri="{FF2B5EF4-FFF2-40B4-BE49-F238E27FC236}">
                <a16:creationId xmlns:a16="http://schemas.microsoft.com/office/drawing/2014/main" id="{71B8CCA1-5773-148B-5533-662EEF3F2B35}"/>
              </a:ext>
            </a:extLst>
          </p:cNvPr>
          <p:cNvSpPr txBox="1">
            <a:spLocks/>
          </p:cNvSpPr>
          <p:nvPr>
            <p:custDataLst>
              <p:tags r:id="rId93"/>
            </p:custDataLst>
          </p:nvPr>
        </p:nvSpPr>
        <p:spPr>
          <a:xfrm>
            <a:off x="6573513" y="4850175"/>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ependent generators</a:t>
            </a:r>
          </a:p>
        </p:txBody>
      </p:sp>
      <p:sp>
        <p:nvSpPr>
          <p:cNvPr id="42" name="TextBox 41">
            <a:extLst>
              <a:ext uri="{FF2B5EF4-FFF2-40B4-BE49-F238E27FC236}">
                <a16:creationId xmlns:a16="http://schemas.microsoft.com/office/drawing/2014/main" id="{BD667B41-4B1D-6749-4166-9BF0804674E7}"/>
              </a:ext>
            </a:extLst>
          </p:cNvPr>
          <p:cNvSpPr txBox="1">
            <a:spLocks/>
          </p:cNvSpPr>
          <p:nvPr>
            <p:custDataLst>
              <p:tags r:id="rId94"/>
            </p:custDataLst>
          </p:nvPr>
        </p:nvSpPr>
        <p:spPr>
          <a:xfrm>
            <a:off x="6291243" y="4528235"/>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56</a:t>
            </a:r>
          </a:p>
        </p:txBody>
      </p:sp>
      <p:sp>
        <p:nvSpPr>
          <p:cNvPr id="43" name="TextBox 42">
            <a:extLst>
              <a:ext uri="{FF2B5EF4-FFF2-40B4-BE49-F238E27FC236}">
                <a16:creationId xmlns:a16="http://schemas.microsoft.com/office/drawing/2014/main" id="{EBA0FCB7-4AC8-1D81-66C6-8CE3E9B694A8}"/>
              </a:ext>
            </a:extLst>
          </p:cNvPr>
          <p:cNvSpPr txBox="1">
            <a:spLocks/>
          </p:cNvSpPr>
          <p:nvPr>
            <p:custDataLst>
              <p:tags r:id="rId95"/>
            </p:custDataLst>
          </p:nvPr>
        </p:nvSpPr>
        <p:spPr>
          <a:xfrm>
            <a:off x="6573513" y="4528235"/>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ependent generators</a:t>
            </a:r>
          </a:p>
        </p:txBody>
      </p:sp>
      <p:sp>
        <p:nvSpPr>
          <p:cNvPr id="44" name="TextBox 43">
            <a:extLst>
              <a:ext uri="{FF2B5EF4-FFF2-40B4-BE49-F238E27FC236}">
                <a16:creationId xmlns:a16="http://schemas.microsoft.com/office/drawing/2014/main" id="{EBF2A3BD-3CC6-7CE2-E035-3123FF774BBB}"/>
              </a:ext>
            </a:extLst>
          </p:cNvPr>
          <p:cNvSpPr txBox="1">
            <a:spLocks/>
          </p:cNvSpPr>
          <p:nvPr>
            <p:custDataLst>
              <p:tags r:id="rId96"/>
            </p:custDataLst>
          </p:nvPr>
        </p:nvSpPr>
        <p:spPr>
          <a:xfrm>
            <a:off x="6291243" y="4203942"/>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55</a:t>
            </a:r>
          </a:p>
        </p:txBody>
      </p:sp>
      <p:sp>
        <p:nvSpPr>
          <p:cNvPr id="45" name="TextBox 44">
            <a:extLst>
              <a:ext uri="{FF2B5EF4-FFF2-40B4-BE49-F238E27FC236}">
                <a16:creationId xmlns:a16="http://schemas.microsoft.com/office/drawing/2014/main" id="{403C981D-2E60-B7BB-4119-CEFB9F6366FF}"/>
              </a:ext>
            </a:extLst>
          </p:cNvPr>
          <p:cNvSpPr txBox="1">
            <a:spLocks/>
          </p:cNvSpPr>
          <p:nvPr>
            <p:custDataLst>
              <p:tags r:id="rId97"/>
            </p:custDataLst>
          </p:nvPr>
        </p:nvSpPr>
        <p:spPr>
          <a:xfrm>
            <a:off x="6573513" y="4203942"/>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Co-ops</a:t>
            </a:r>
          </a:p>
        </p:txBody>
      </p:sp>
      <p:sp>
        <p:nvSpPr>
          <p:cNvPr id="46" name="TextBox 45">
            <a:extLst>
              <a:ext uri="{FF2B5EF4-FFF2-40B4-BE49-F238E27FC236}">
                <a16:creationId xmlns:a16="http://schemas.microsoft.com/office/drawing/2014/main" id="{D50837CB-AF6D-8CC9-5518-08E57803923D}"/>
              </a:ext>
            </a:extLst>
          </p:cNvPr>
          <p:cNvSpPr txBox="1">
            <a:spLocks/>
          </p:cNvSpPr>
          <p:nvPr>
            <p:custDataLst>
              <p:tags r:id="rId98"/>
            </p:custDataLst>
          </p:nvPr>
        </p:nvSpPr>
        <p:spPr>
          <a:xfrm>
            <a:off x="6291243" y="3877296"/>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54</a:t>
            </a:r>
          </a:p>
        </p:txBody>
      </p:sp>
      <p:sp>
        <p:nvSpPr>
          <p:cNvPr id="47" name="TextBox 46">
            <a:extLst>
              <a:ext uri="{FF2B5EF4-FFF2-40B4-BE49-F238E27FC236}">
                <a16:creationId xmlns:a16="http://schemas.microsoft.com/office/drawing/2014/main" id="{723D6D32-4571-B357-A211-264E1AA0EF5F}"/>
              </a:ext>
            </a:extLst>
          </p:cNvPr>
          <p:cNvSpPr txBox="1">
            <a:spLocks/>
          </p:cNvSpPr>
          <p:nvPr>
            <p:custDataLst>
              <p:tags r:id="rId99"/>
            </p:custDataLst>
          </p:nvPr>
        </p:nvSpPr>
        <p:spPr>
          <a:xfrm>
            <a:off x="6573513" y="3877296"/>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unis</a:t>
            </a:r>
          </a:p>
        </p:txBody>
      </p:sp>
      <p:sp>
        <p:nvSpPr>
          <p:cNvPr id="48" name="TextBox 47">
            <a:extLst>
              <a:ext uri="{FF2B5EF4-FFF2-40B4-BE49-F238E27FC236}">
                <a16:creationId xmlns:a16="http://schemas.microsoft.com/office/drawing/2014/main" id="{5DE6AC4E-7890-3515-6E88-4C1BBC2011F5}"/>
              </a:ext>
            </a:extLst>
          </p:cNvPr>
          <p:cNvSpPr txBox="1">
            <a:spLocks/>
          </p:cNvSpPr>
          <p:nvPr>
            <p:custDataLst>
              <p:tags r:id="rId100"/>
            </p:custDataLst>
          </p:nvPr>
        </p:nvSpPr>
        <p:spPr>
          <a:xfrm>
            <a:off x="6291243" y="3548297"/>
            <a:ext cx="1989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53</a:t>
            </a:r>
          </a:p>
        </p:txBody>
      </p:sp>
      <p:sp>
        <p:nvSpPr>
          <p:cNvPr id="49" name="TextBox 48">
            <a:extLst>
              <a:ext uri="{FF2B5EF4-FFF2-40B4-BE49-F238E27FC236}">
                <a16:creationId xmlns:a16="http://schemas.microsoft.com/office/drawing/2014/main" id="{B8870375-BF28-323A-3435-F25D03E62E42}"/>
              </a:ext>
            </a:extLst>
          </p:cNvPr>
          <p:cNvSpPr txBox="1">
            <a:spLocks/>
          </p:cNvSpPr>
          <p:nvPr>
            <p:custDataLst>
              <p:tags r:id="rId101"/>
            </p:custDataLst>
          </p:nvPr>
        </p:nvSpPr>
        <p:spPr>
          <a:xfrm>
            <a:off x="6573513" y="3548297"/>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Developers</a:t>
            </a:r>
          </a:p>
        </p:txBody>
      </p:sp>
      <p:sp>
        <p:nvSpPr>
          <p:cNvPr id="50" name="TextBox 49">
            <a:extLst>
              <a:ext uri="{FF2B5EF4-FFF2-40B4-BE49-F238E27FC236}">
                <a16:creationId xmlns:a16="http://schemas.microsoft.com/office/drawing/2014/main" id="{300E6D74-F618-3B37-2BE9-6A97D4316A68}"/>
              </a:ext>
            </a:extLst>
          </p:cNvPr>
          <p:cNvSpPr txBox="1">
            <a:spLocks/>
          </p:cNvSpPr>
          <p:nvPr>
            <p:custDataLst>
              <p:tags r:id="rId102"/>
            </p:custDataLst>
          </p:nvPr>
        </p:nvSpPr>
        <p:spPr>
          <a:xfrm>
            <a:off x="9872832" y="1276485"/>
            <a:ext cx="27646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Tract</a:t>
            </a:r>
          </a:p>
        </p:txBody>
      </p:sp>
      <p:sp>
        <p:nvSpPr>
          <p:cNvPr id="51" name="TextBox 50">
            <a:extLst>
              <a:ext uri="{FF2B5EF4-FFF2-40B4-BE49-F238E27FC236}">
                <a16:creationId xmlns:a16="http://schemas.microsoft.com/office/drawing/2014/main" id="{C6ED682F-823A-221D-3688-B3A94508AC4C}"/>
              </a:ext>
            </a:extLst>
          </p:cNvPr>
          <p:cNvSpPr txBox="1">
            <a:spLocks/>
          </p:cNvSpPr>
          <p:nvPr>
            <p:custDataLst>
              <p:tags r:id="rId103"/>
            </p:custDataLst>
          </p:nvPr>
        </p:nvSpPr>
        <p:spPr>
          <a:xfrm>
            <a:off x="9872832" y="1599895"/>
            <a:ext cx="27646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WETT</a:t>
            </a:r>
            <a:r>
              <a:rPr lang="en-US" sz="1200" baseline="30000"/>
              <a:t>1</a:t>
            </a:r>
            <a:endParaRPr lang="en-US" sz="1200"/>
          </a:p>
        </p:txBody>
      </p:sp>
      <p:sp>
        <p:nvSpPr>
          <p:cNvPr id="52" name="TextBox 51">
            <a:extLst>
              <a:ext uri="{FF2B5EF4-FFF2-40B4-BE49-F238E27FC236}">
                <a16:creationId xmlns:a16="http://schemas.microsoft.com/office/drawing/2014/main" id="{1A1A651D-0D31-032C-FDFF-02C7B67D8106}"/>
              </a:ext>
            </a:extLst>
          </p:cNvPr>
          <p:cNvSpPr txBox="1">
            <a:spLocks/>
          </p:cNvSpPr>
          <p:nvPr>
            <p:custDataLst>
              <p:tags r:id="rId104"/>
            </p:custDataLst>
          </p:nvPr>
        </p:nvSpPr>
        <p:spPr>
          <a:xfrm>
            <a:off x="9872832" y="1923305"/>
            <a:ext cx="27646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ultiple</a:t>
            </a:r>
            <a:r>
              <a:rPr lang="en-US" sz="1200" baseline="30000"/>
              <a:t>3</a:t>
            </a:r>
            <a:endParaRPr lang="en-US" sz="1200"/>
          </a:p>
        </p:txBody>
      </p:sp>
      <p:sp>
        <p:nvSpPr>
          <p:cNvPr id="53" name="TextBox 52">
            <a:extLst>
              <a:ext uri="{FF2B5EF4-FFF2-40B4-BE49-F238E27FC236}">
                <a16:creationId xmlns:a16="http://schemas.microsoft.com/office/drawing/2014/main" id="{7E6D44D2-2FF6-300C-203D-52FA745F885B}"/>
              </a:ext>
            </a:extLst>
          </p:cNvPr>
          <p:cNvSpPr txBox="1">
            <a:spLocks/>
          </p:cNvSpPr>
          <p:nvPr>
            <p:custDataLst>
              <p:tags r:id="rId105"/>
            </p:custDataLst>
          </p:nvPr>
        </p:nvSpPr>
        <p:spPr>
          <a:xfrm>
            <a:off x="9872832" y="2246715"/>
            <a:ext cx="27646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Oracle</a:t>
            </a:r>
          </a:p>
        </p:txBody>
      </p:sp>
      <p:sp>
        <p:nvSpPr>
          <p:cNvPr id="54" name="TextBox 53">
            <a:extLst>
              <a:ext uri="{FF2B5EF4-FFF2-40B4-BE49-F238E27FC236}">
                <a16:creationId xmlns:a16="http://schemas.microsoft.com/office/drawing/2014/main" id="{ED898963-FE41-9672-6477-0D689C63C746}"/>
              </a:ext>
            </a:extLst>
          </p:cNvPr>
          <p:cNvSpPr txBox="1">
            <a:spLocks/>
          </p:cNvSpPr>
          <p:nvPr>
            <p:custDataLst>
              <p:tags r:id="rId106"/>
            </p:custDataLst>
          </p:nvPr>
        </p:nvSpPr>
        <p:spPr>
          <a:xfrm>
            <a:off x="9872832" y="2570125"/>
            <a:ext cx="27646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NextEra</a:t>
            </a:r>
          </a:p>
        </p:txBody>
      </p:sp>
      <p:sp>
        <p:nvSpPr>
          <p:cNvPr id="55" name="TextBox 54">
            <a:extLst>
              <a:ext uri="{FF2B5EF4-FFF2-40B4-BE49-F238E27FC236}">
                <a16:creationId xmlns:a16="http://schemas.microsoft.com/office/drawing/2014/main" id="{F19E2808-D32B-1D1C-2E14-E6A1A33545F0}"/>
              </a:ext>
            </a:extLst>
          </p:cNvPr>
          <p:cNvSpPr txBox="1">
            <a:spLocks/>
          </p:cNvSpPr>
          <p:nvPr>
            <p:custDataLst>
              <p:tags r:id="rId107"/>
            </p:custDataLst>
          </p:nvPr>
        </p:nvSpPr>
        <p:spPr>
          <a:xfrm>
            <a:off x="9872832" y="2893535"/>
            <a:ext cx="27646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LincolnProperties</a:t>
            </a:r>
          </a:p>
        </p:txBody>
      </p:sp>
      <p:sp>
        <p:nvSpPr>
          <p:cNvPr id="56" name="TextBox 55">
            <a:extLst>
              <a:ext uri="{FF2B5EF4-FFF2-40B4-BE49-F238E27FC236}">
                <a16:creationId xmlns:a16="http://schemas.microsoft.com/office/drawing/2014/main" id="{0B725D5F-FB4F-7F6A-3D74-99FB48DED14C}"/>
              </a:ext>
            </a:extLst>
          </p:cNvPr>
          <p:cNvSpPr txBox="1">
            <a:spLocks/>
          </p:cNvSpPr>
          <p:nvPr>
            <p:custDataLst>
              <p:tags r:id="rId108"/>
            </p:custDataLst>
          </p:nvPr>
        </p:nvSpPr>
        <p:spPr>
          <a:xfrm>
            <a:off x="9872832" y="3216945"/>
            <a:ext cx="27646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Cholla</a:t>
            </a:r>
          </a:p>
        </p:txBody>
      </p:sp>
      <p:sp>
        <p:nvSpPr>
          <p:cNvPr id="57" name="TextBox 56">
            <a:extLst>
              <a:ext uri="{FF2B5EF4-FFF2-40B4-BE49-F238E27FC236}">
                <a16:creationId xmlns:a16="http://schemas.microsoft.com/office/drawing/2014/main" id="{CC7093FD-0C19-EAB6-573B-6029D528F3BD}"/>
              </a:ext>
            </a:extLst>
          </p:cNvPr>
          <p:cNvSpPr txBox="1">
            <a:spLocks/>
          </p:cNvSpPr>
          <p:nvPr>
            <p:custDataLst>
              <p:tags r:id="rId109"/>
            </p:custDataLst>
          </p:nvPr>
        </p:nvSpPr>
        <p:spPr>
          <a:xfrm>
            <a:off x="9872832" y="5801876"/>
            <a:ext cx="27646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Thor Equities</a:t>
            </a:r>
          </a:p>
        </p:txBody>
      </p:sp>
      <p:sp>
        <p:nvSpPr>
          <p:cNvPr id="58" name="TextBox 57">
            <a:extLst>
              <a:ext uri="{FF2B5EF4-FFF2-40B4-BE49-F238E27FC236}">
                <a16:creationId xmlns:a16="http://schemas.microsoft.com/office/drawing/2014/main" id="{6376BCA8-177C-28FC-1543-F13D6DEA73F8}"/>
              </a:ext>
            </a:extLst>
          </p:cNvPr>
          <p:cNvSpPr txBox="1">
            <a:spLocks/>
          </p:cNvSpPr>
          <p:nvPr>
            <p:custDataLst>
              <p:tags r:id="rId110"/>
            </p:custDataLst>
          </p:nvPr>
        </p:nvSpPr>
        <p:spPr>
          <a:xfrm>
            <a:off x="9872832" y="5486994"/>
            <a:ext cx="27646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Trammell Crow Company</a:t>
            </a:r>
          </a:p>
        </p:txBody>
      </p:sp>
      <p:sp>
        <p:nvSpPr>
          <p:cNvPr id="59" name="TextBox 58">
            <a:extLst>
              <a:ext uri="{FF2B5EF4-FFF2-40B4-BE49-F238E27FC236}">
                <a16:creationId xmlns:a16="http://schemas.microsoft.com/office/drawing/2014/main" id="{96B51A01-8BDD-22F4-7076-BF0787569186}"/>
              </a:ext>
            </a:extLst>
          </p:cNvPr>
          <p:cNvSpPr txBox="1">
            <a:spLocks/>
          </p:cNvSpPr>
          <p:nvPr>
            <p:custDataLst>
              <p:tags r:id="rId111"/>
            </p:custDataLst>
          </p:nvPr>
        </p:nvSpPr>
        <p:spPr>
          <a:xfrm>
            <a:off x="9872832" y="5169762"/>
            <a:ext cx="27646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Cypress Creek</a:t>
            </a:r>
          </a:p>
        </p:txBody>
      </p:sp>
      <p:sp>
        <p:nvSpPr>
          <p:cNvPr id="60" name="TextBox 59">
            <a:extLst>
              <a:ext uri="{FF2B5EF4-FFF2-40B4-BE49-F238E27FC236}">
                <a16:creationId xmlns:a16="http://schemas.microsoft.com/office/drawing/2014/main" id="{E2618690-A4E9-B389-9CA1-249A29DAF298}"/>
              </a:ext>
            </a:extLst>
          </p:cNvPr>
          <p:cNvSpPr txBox="1">
            <a:spLocks/>
          </p:cNvSpPr>
          <p:nvPr>
            <p:custDataLst>
              <p:tags r:id="rId112"/>
            </p:custDataLst>
          </p:nvPr>
        </p:nvSpPr>
        <p:spPr>
          <a:xfrm>
            <a:off x="9872832" y="4850175"/>
            <a:ext cx="27646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SB Energy</a:t>
            </a:r>
          </a:p>
        </p:txBody>
      </p:sp>
      <p:sp>
        <p:nvSpPr>
          <p:cNvPr id="61" name="TextBox 60">
            <a:extLst>
              <a:ext uri="{FF2B5EF4-FFF2-40B4-BE49-F238E27FC236}">
                <a16:creationId xmlns:a16="http://schemas.microsoft.com/office/drawing/2014/main" id="{01F73704-7072-9203-B69C-EB761DF7EDB5}"/>
              </a:ext>
            </a:extLst>
          </p:cNvPr>
          <p:cNvSpPr txBox="1">
            <a:spLocks/>
          </p:cNvSpPr>
          <p:nvPr>
            <p:custDataLst>
              <p:tags r:id="rId113"/>
            </p:custDataLst>
          </p:nvPr>
        </p:nvSpPr>
        <p:spPr>
          <a:xfrm>
            <a:off x="9872832" y="4528235"/>
            <a:ext cx="27646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Eolian</a:t>
            </a:r>
          </a:p>
        </p:txBody>
      </p:sp>
      <p:sp>
        <p:nvSpPr>
          <p:cNvPr id="62" name="TextBox 61">
            <a:extLst>
              <a:ext uri="{FF2B5EF4-FFF2-40B4-BE49-F238E27FC236}">
                <a16:creationId xmlns:a16="http://schemas.microsoft.com/office/drawing/2014/main" id="{8369410A-6538-59DA-4EB4-0FD1725A4910}"/>
              </a:ext>
            </a:extLst>
          </p:cNvPr>
          <p:cNvSpPr txBox="1">
            <a:spLocks/>
          </p:cNvSpPr>
          <p:nvPr>
            <p:custDataLst>
              <p:tags r:id="rId114"/>
            </p:custDataLst>
          </p:nvPr>
        </p:nvSpPr>
        <p:spPr>
          <a:xfrm>
            <a:off x="9872832" y="4203942"/>
            <a:ext cx="27646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Bluebonnet</a:t>
            </a:r>
            <a:endParaRPr lang="en-US" sz="1200" baseline="30000"/>
          </a:p>
        </p:txBody>
      </p:sp>
      <p:sp>
        <p:nvSpPr>
          <p:cNvPr id="63" name="TextBox 62">
            <a:extLst>
              <a:ext uri="{FF2B5EF4-FFF2-40B4-BE49-F238E27FC236}">
                <a16:creationId xmlns:a16="http://schemas.microsoft.com/office/drawing/2014/main" id="{42EDEDC4-3D83-F37C-9B8A-886B0F88F098}"/>
              </a:ext>
            </a:extLst>
          </p:cNvPr>
          <p:cNvSpPr txBox="1">
            <a:spLocks/>
          </p:cNvSpPr>
          <p:nvPr>
            <p:custDataLst>
              <p:tags r:id="rId115"/>
            </p:custDataLst>
          </p:nvPr>
        </p:nvSpPr>
        <p:spPr>
          <a:xfrm>
            <a:off x="9872832" y="3877296"/>
            <a:ext cx="27646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Austin Energy</a:t>
            </a:r>
          </a:p>
        </p:txBody>
      </p:sp>
      <p:sp>
        <p:nvSpPr>
          <p:cNvPr id="64" name="TextBox 63">
            <a:extLst>
              <a:ext uri="{FF2B5EF4-FFF2-40B4-BE49-F238E27FC236}">
                <a16:creationId xmlns:a16="http://schemas.microsoft.com/office/drawing/2014/main" id="{90C8EF43-CBD9-8842-C18B-89A53C05D727}"/>
              </a:ext>
            </a:extLst>
          </p:cNvPr>
          <p:cNvSpPr txBox="1">
            <a:spLocks/>
          </p:cNvSpPr>
          <p:nvPr>
            <p:custDataLst>
              <p:tags r:id="rId116"/>
            </p:custDataLst>
          </p:nvPr>
        </p:nvSpPr>
        <p:spPr>
          <a:xfrm>
            <a:off x="9872832" y="3548297"/>
            <a:ext cx="276469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CTT</a:t>
            </a:r>
          </a:p>
        </p:txBody>
      </p:sp>
      <p:sp>
        <p:nvSpPr>
          <p:cNvPr id="67" name="TextBox 66">
            <a:extLst>
              <a:ext uri="{FF2B5EF4-FFF2-40B4-BE49-F238E27FC236}">
                <a16:creationId xmlns:a16="http://schemas.microsoft.com/office/drawing/2014/main" id="{AB002830-2BF8-C0BC-0491-455D688DA885}"/>
              </a:ext>
            </a:extLst>
          </p:cNvPr>
          <p:cNvSpPr txBox="1">
            <a:spLocks/>
          </p:cNvSpPr>
          <p:nvPr>
            <p:custDataLst>
              <p:tags r:id="rId117"/>
            </p:custDataLst>
          </p:nvPr>
        </p:nvSpPr>
        <p:spPr>
          <a:xfrm>
            <a:off x="8531658" y="1923305"/>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Group</a:t>
            </a:r>
            <a:r>
              <a:rPr lang="en-US" sz="1200" baseline="30000"/>
              <a:t>2</a:t>
            </a:r>
            <a:endParaRPr lang="en-US" sz="1200"/>
          </a:p>
        </p:txBody>
      </p:sp>
      <p:sp>
        <p:nvSpPr>
          <p:cNvPr id="112" name="TextBox 111">
            <a:extLst>
              <a:ext uri="{FF2B5EF4-FFF2-40B4-BE49-F238E27FC236}">
                <a16:creationId xmlns:a16="http://schemas.microsoft.com/office/drawing/2014/main" id="{B55A84A0-8FDB-6A6D-F53F-D2805C3CD790}"/>
              </a:ext>
            </a:extLst>
          </p:cNvPr>
          <p:cNvSpPr txBox="1">
            <a:spLocks/>
          </p:cNvSpPr>
          <p:nvPr>
            <p:custDataLst>
              <p:tags r:id="rId118"/>
            </p:custDataLst>
          </p:nvPr>
        </p:nvSpPr>
        <p:spPr>
          <a:xfrm>
            <a:off x="8531658" y="1276485"/>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113" name="TextBox 112">
            <a:extLst>
              <a:ext uri="{FF2B5EF4-FFF2-40B4-BE49-F238E27FC236}">
                <a16:creationId xmlns:a16="http://schemas.microsoft.com/office/drawing/2014/main" id="{9C2263F7-5778-787A-5F72-499A97B53623}"/>
              </a:ext>
            </a:extLst>
          </p:cNvPr>
          <p:cNvSpPr txBox="1">
            <a:spLocks/>
          </p:cNvSpPr>
          <p:nvPr>
            <p:custDataLst>
              <p:tags r:id="rId119"/>
            </p:custDataLst>
          </p:nvPr>
        </p:nvSpPr>
        <p:spPr>
          <a:xfrm>
            <a:off x="8531658" y="1598004"/>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114" name="TextBox 113">
            <a:extLst>
              <a:ext uri="{FF2B5EF4-FFF2-40B4-BE49-F238E27FC236}">
                <a16:creationId xmlns:a16="http://schemas.microsoft.com/office/drawing/2014/main" id="{A5AFE3F2-A537-55B6-25E6-E99E6778AD78}"/>
              </a:ext>
            </a:extLst>
          </p:cNvPr>
          <p:cNvSpPr txBox="1">
            <a:spLocks/>
          </p:cNvSpPr>
          <p:nvPr>
            <p:custDataLst>
              <p:tags r:id="rId120"/>
            </p:custDataLst>
          </p:nvPr>
        </p:nvSpPr>
        <p:spPr>
          <a:xfrm>
            <a:off x="8531658" y="2241042"/>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115" name="TextBox 114">
            <a:extLst>
              <a:ext uri="{FF2B5EF4-FFF2-40B4-BE49-F238E27FC236}">
                <a16:creationId xmlns:a16="http://schemas.microsoft.com/office/drawing/2014/main" id="{B4B2A933-7968-1922-905E-305D5E280CFC}"/>
              </a:ext>
            </a:extLst>
          </p:cNvPr>
          <p:cNvSpPr txBox="1">
            <a:spLocks/>
          </p:cNvSpPr>
          <p:nvPr>
            <p:custDataLst>
              <p:tags r:id="rId121"/>
            </p:custDataLst>
          </p:nvPr>
        </p:nvSpPr>
        <p:spPr>
          <a:xfrm>
            <a:off x="8531658" y="2562561"/>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116" name="TextBox 115">
            <a:extLst>
              <a:ext uri="{FF2B5EF4-FFF2-40B4-BE49-F238E27FC236}">
                <a16:creationId xmlns:a16="http://schemas.microsoft.com/office/drawing/2014/main" id="{D9CC185A-DA22-1DC2-85BD-581635ED932D}"/>
              </a:ext>
            </a:extLst>
          </p:cNvPr>
          <p:cNvSpPr txBox="1">
            <a:spLocks/>
          </p:cNvSpPr>
          <p:nvPr>
            <p:custDataLst>
              <p:tags r:id="rId122"/>
            </p:custDataLst>
          </p:nvPr>
        </p:nvSpPr>
        <p:spPr>
          <a:xfrm>
            <a:off x="8531658" y="2884080"/>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117" name="TextBox 116">
            <a:extLst>
              <a:ext uri="{FF2B5EF4-FFF2-40B4-BE49-F238E27FC236}">
                <a16:creationId xmlns:a16="http://schemas.microsoft.com/office/drawing/2014/main" id="{7F547FC3-CEEE-9D6D-B7C0-9AD3A2248C07}"/>
              </a:ext>
            </a:extLst>
          </p:cNvPr>
          <p:cNvSpPr txBox="1">
            <a:spLocks/>
          </p:cNvSpPr>
          <p:nvPr>
            <p:custDataLst>
              <p:tags r:id="rId123"/>
            </p:custDataLst>
          </p:nvPr>
        </p:nvSpPr>
        <p:spPr>
          <a:xfrm>
            <a:off x="8531658" y="3205599"/>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118" name="TextBox 117">
            <a:extLst>
              <a:ext uri="{FF2B5EF4-FFF2-40B4-BE49-F238E27FC236}">
                <a16:creationId xmlns:a16="http://schemas.microsoft.com/office/drawing/2014/main" id="{B7CF7D76-D7B7-9931-0481-10B21EE50CF8}"/>
              </a:ext>
            </a:extLst>
          </p:cNvPr>
          <p:cNvSpPr txBox="1">
            <a:spLocks/>
          </p:cNvSpPr>
          <p:nvPr>
            <p:custDataLst>
              <p:tags r:id="rId124"/>
            </p:custDataLst>
          </p:nvPr>
        </p:nvSpPr>
        <p:spPr>
          <a:xfrm>
            <a:off x="8531658" y="3527118"/>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119" name="TextBox 118">
            <a:extLst>
              <a:ext uri="{FF2B5EF4-FFF2-40B4-BE49-F238E27FC236}">
                <a16:creationId xmlns:a16="http://schemas.microsoft.com/office/drawing/2014/main" id="{011F77E6-172E-E203-22D8-989F175517B1}"/>
              </a:ext>
            </a:extLst>
          </p:cNvPr>
          <p:cNvSpPr txBox="1">
            <a:spLocks/>
          </p:cNvSpPr>
          <p:nvPr>
            <p:custDataLst>
              <p:tags r:id="rId125"/>
            </p:custDataLst>
          </p:nvPr>
        </p:nvSpPr>
        <p:spPr>
          <a:xfrm>
            <a:off x="8531658" y="3848637"/>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120" name="TextBox 119">
            <a:extLst>
              <a:ext uri="{FF2B5EF4-FFF2-40B4-BE49-F238E27FC236}">
                <a16:creationId xmlns:a16="http://schemas.microsoft.com/office/drawing/2014/main" id="{C97D7563-3562-D449-A9E6-4A1302A10499}"/>
              </a:ext>
            </a:extLst>
          </p:cNvPr>
          <p:cNvSpPr txBox="1">
            <a:spLocks/>
          </p:cNvSpPr>
          <p:nvPr>
            <p:custDataLst>
              <p:tags r:id="rId126"/>
            </p:custDataLst>
          </p:nvPr>
        </p:nvSpPr>
        <p:spPr>
          <a:xfrm>
            <a:off x="8531658" y="4170156"/>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121" name="TextBox 120">
            <a:extLst>
              <a:ext uri="{FF2B5EF4-FFF2-40B4-BE49-F238E27FC236}">
                <a16:creationId xmlns:a16="http://schemas.microsoft.com/office/drawing/2014/main" id="{047A835D-20DF-6716-C3DC-74C7B29E96D4}"/>
              </a:ext>
            </a:extLst>
          </p:cNvPr>
          <p:cNvSpPr txBox="1">
            <a:spLocks/>
          </p:cNvSpPr>
          <p:nvPr>
            <p:custDataLst>
              <p:tags r:id="rId127"/>
            </p:custDataLst>
          </p:nvPr>
        </p:nvSpPr>
        <p:spPr>
          <a:xfrm>
            <a:off x="8531658" y="4491675"/>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122" name="TextBox 121">
            <a:extLst>
              <a:ext uri="{FF2B5EF4-FFF2-40B4-BE49-F238E27FC236}">
                <a16:creationId xmlns:a16="http://schemas.microsoft.com/office/drawing/2014/main" id="{1C362AB1-1748-B571-89ED-546B5FECB988}"/>
              </a:ext>
            </a:extLst>
          </p:cNvPr>
          <p:cNvSpPr txBox="1">
            <a:spLocks/>
          </p:cNvSpPr>
          <p:nvPr>
            <p:custDataLst>
              <p:tags r:id="rId128"/>
            </p:custDataLst>
          </p:nvPr>
        </p:nvSpPr>
        <p:spPr>
          <a:xfrm>
            <a:off x="8531658" y="4813194"/>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123" name="TextBox 122">
            <a:extLst>
              <a:ext uri="{FF2B5EF4-FFF2-40B4-BE49-F238E27FC236}">
                <a16:creationId xmlns:a16="http://schemas.microsoft.com/office/drawing/2014/main" id="{E40FFC6B-89B0-B41A-A806-CE7E744505A5}"/>
              </a:ext>
            </a:extLst>
          </p:cNvPr>
          <p:cNvSpPr txBox="1">
            <a:spLocks/>
          </p:cNvSpPr>
          <p:nvPr>
            <p:custDataLst>
              <p:tags r:id="rId129"/>
            </p:custDataLst>
          </p:nvPr>
        </p:nvSpPr>
        <p:spPr>
          <a:xfrm>
            <a:off x="8531658" y="5134713"/>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124" name="TextBox 123">
            <a:extLst>
              <a:ext uri="{FF2B5EF4-FFF2-40B4-BE49-F238E27FC236}">
                <a16:creationId xmlns:a16="http://schemas.microsoft.com/office/drawing/2014/main" id="{5BE902E0-9481-AD5A-5956-33BC4A469166}"/>
              </a:ext>
            </a:extLst>
          </p:cNvPr>
          <p:cNvSpPr txBox="1">
            <a:spLocks/>
          </p:cNvSpPr>
          <p:nvPr>
            <p:custDataLst>
              <p:tags r:id="rId130"/>
            </p:custDataLst>
          </p:nvPr>
        </p:nvSpPr>
        <p:spPr>
          <a:xfrm>
            <a:off x="8531658" y="5456232"/>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125" name="TextBox 124">
            <a:extLst>
              <a:ext uri="{FF2B5EF4-FFF2-40B4-BE49-F238E27FC236}">
                <a16:creationId xmlns:a16="http://schemas.microsoft.com/office/drawing/2014/main" id="{F906A10A-9F73-1A45-B969-B0B89F8FE65E}"/>
              </a:ext>
            </a:extLst>
          </p:cNvPr>
          <p:cNvSpPr txBox="1">
            <a:spLocks/>
          </p:cNvSpPr>
          <p:nvPr>
            <p:custDataLst>
              <p:tags r:id="rId131"/>
            </p:custDataLst>
          </p:nvPr>
        </p:nvSpPr>
        <p:spPr>
          <a:xfrm>
            <a:off x="8531658" y="5777751"/>
            <a:ext cx="165834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ndividual</a:t>
            </a:r>
          </a:p>
        </p:txBody>
      </p:sp>
      <p:sp>
        <p:nvSpPr>
          <p:cNvPr id="128" name="4. Footnote">
            <a:extLst>
              <a:ext uri="{FF2B5EF4-FFF2-40B4-BE49-F238E27FC236}">
                <a16:creationId xmlns:a16="http://schemas.microsoft.com/office/drawing/2014/main" id="{3F336B0B-0C70-6E1B-B15D-C2514A4ECAF8}"/>
              </a:ext>
            </a:extLst>
          </p:cNvPr>
          <p:cNvSpPr txBox="1"/>
          <p:nvPr>
            <p:custDataLst>
              <p:tags r:id="rId132"/>
            </p:custDataLst>
          </p:nvPr>
        </p:nvSpPr>
        <p:spPr>
          <a:xfrm>
            <a:off x="2127189" y="6325437"/>
            <a:ext cx="9553096" cy="123111"/>
          </a:xfrm>
          <a:prstGeom prst="rect">
            <a:avLst/>
          </a:prstGeom>
          <a:noFill/>
        </p:spPr>
        <p:txBody>
          <a:bodyPr vert="horz" wrap="square" lIns="0" tIns="0" rIns="0" bIns="0" rtlCol="0" anchor="b" anchorCtr="0">
            <a:spAutoFit/>
          </a:bodyPr>
          <a:lstStyle/>
          <a:p>
            <a:pPr marL="203200" indent="-212725"/>
            <a:r>
              <a:rPr lang="en-US" sz="800"/>
              <a:t>1. Wholesale Energy Trade Association of Texas  |  2. </a:t>
            </a:r>
            <a:r>
              <a:rPr lang="en-US" sz="800">
                <a:solidFill>
                  <a:srgbClr val="2D3338"/>
                </a:solidFill>
              </a:rPr>
              <a:t>Single session with multiple organizations from the same stakeholder group(s)  |  3. Stream Data Center, Serena Energy, Cocanougher Asset Management</a:t>
            </a:r>
          </a:p>
        </p:txBody>
      </p:sp>
      <p:grpSp>
        <p:nvGrpSpPr>
          <p:cNvPr id="132" name="Group 131">
            <a:extLst>
              <a:ext uri="{FF2B5EF4-FFF2-40B4-BE49-F238E27FC236}">
                <a16:creationId xmlns:a16="http://schemas.microsoft.com/office/drawing/2014/main" id="{4DC884B8-1BF3-3A00-0781-F46C5864083C}"/>
              </a:ext>
            </a:extLst>
          </p:cNvPr>
          <p:cNvGrpSpPr/>
          <p:nvPr/>
        </p:nvGrpSpPr>
        <p:grpSpPr>
          <a:xfrm>
            <a:off x="6272955" y="1219200"/>
            <a:ext cx="5501576" cy="4505505"/>
            <a:chOff x="594424" y="1219200"/>
            <a:chExt cx="11089576" cy="4505505"/>
          </a:xfrm>
        </p:grpSpPr>
        <p:cxnSp>
          <p:nvCxnSpPr>
            <p:cNvPr id="133" name="Straight Connector 132">
              <a:extLst>
                <a:ext uri="{FF2B5EF4-FFF2-40B4-BE49-F238E27FC236}">
                  <a16:creationId xmlns:a16="http://schemas.microsoft.com/office/drawing/2014/main" id="{3BF510ED-E51D-233E-499E-A8AEEDD57F39}"/>
                </a:ext>
              </a:extLst>
            </p:cNvPr>
            <p:cNvCxnSpPr>
              <a:cxnSpLocks/>
            </p:cNvCxnSpPr>
            <p:nvPr/>
          </p:nvCxnSpPr>
          <p:spPr>
            <a:xfrm>
              <a:off x="594424" y="1219200"/>
              <a:ext cx="11072813" cy="0"/>
            </a:xfrm>
            <a:prstGeom prst="line">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ED1259BB-2081-226E-51B9-D402397562E1}"/>
                </a:ext>
              </a:extLst>
            </p:cNvPr>
            <p:cNvCxnSpPr>
              <a:cxnSpLocks/>
            </p:cNvCxnSpPr>
            <p:nvPr/>
          </p:nvCxnSpPr>
          <p:spPr>
            <a:xfrm>
              <a:off x="594424" y="1550951"/>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40B5DC5A-1375-1BED-3517-7CE9202AD547}"/>
                </a:ext>
              </a:extLst>
            </p:cNvPr>
            <p:cNvCxnSpPr>
              <a:cxnSpLocks/>
            </p:cNvCxnSpPr>
            <p:nvPr/>
          </p:nvCxnSpPr>
          <p:spPr>
            <a:xfrm>
              <a:off x="594424" y="1872009"/>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3D951CF7-5A97-EDBE-4260-E2FE9E4A6C77}"/>
                </a:ext>
              </a:extLst>
            </p:cNvPr>
            <p:cNvCxnSpPr>
              <a:cxnSpLocks/>
            </p:cNvCxnSpPr>
            <p:nvPr/>
          </p:nvCxnSpPr>
          <p:spPr>
            <a:xfrm>
              <a:off x="594424" y="2193067"/>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C5EDB130-945F-4482-18BA-FCC71733F6D5}"/>
                </a:ext>
              </a:extLst>
            </p:cNvPr>
            <p:cNvCxnSpPr>
              <a:cxnSpLocks/>
            </p:cNvCxnSpPr>
            <p:nvPr/>
          </p:nvCxnSpPr>
          <p:spPr>
            <a:xfrm>
              <a:off x="594424" y="2514125"/>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A153E0D8-177D-87B6-36FC-708F85BA5554}"/>
                </a:ext>
              </a:extLst>
            </p:cNvPr>
            <p:cNvCxnSpPr>
              <a:cxnSpLocks/>
            </p:cNvCxnSpPr>
            <p:nvPr/>
          </p:nvCxnSpPr>
          <p:spPr>
            <a:xfrm>
              <a:off x="594424" y="2835183"/>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1D297EC2-78BD-CC8E-C263-91D04397B7AA}"/>
                </a:ext>
              </a:extLst>
            </p:cNvPr>
            <p:cNvCxnSpPr>
              <a:cxnSpLocks/>
            </p:cNvCxnSpPr>
            <p:nvPr/>
          </p:nvCxnSpPr>
          <p:spPr>
            <a:xfrm>
              <a:off x="594424" y="3156241"/>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53642C58-79FB-EC2F-7B90-1C2F84F5D5C0}"/>
                </a:ext>
              </a:extLst>
            </p:cNvPr>
            <p:cNvCxnSpPr>
              <a:cxnSpLocks/>
            </p:cNvCxnSpPr>
            <p:nvPr/>
          </p:nvCxnSpPr>
          <p:spPr>
            <a:xfrm>
              <a:off x="594424" y="3477299"/>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93DC42B0-6822-C6C4-10CC-5B187F618AE3}"/>
                </a:ext>
              </a:extLst>
            </p:cNvPr>
            <p:cNvCxnSpPr>
              <a:cxnSpLocks/>
            </p:cNvCxnSpPr>
            <p:nvPr/>
          </p:nvCxnSpPr>
          <p:spPr>
            <a:xfrm>
              <a:off x="594424" y="3798357"/>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FD089A91-6E97-FDD4-11A1-63CC1498986E}"/>
                </a:ext>
              </a:extLst>
            </p:cNvPr>
            <p:cNvCxnSpPr>
              <a:cxnSpLocks/>
            </p:cNvCxnSpPr>
            <p:nvPr/>
          </p:nvCxnSpPr>
          <p:spPr>
            <a:xfrm>
              <a:off x="594424" y="4119415"/>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A8EA168-6414-0E2B-E59F-3F5641E74774}"/>
                </a:ext>
              </a:extLst>
            </p:cNvPr>
            <p:cNvCxnSpPr>
              <a:cxnSpLocks/>
            </p:cNvCxnSpPr>
            <p:nvPr/>
          </p:nvCxnSpPr>
          <p:spPr>
            <a:xfrm>
              <a:off x="594424" y="4440473"/>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F15AE2BC-DB74-FA8C-54B4-6287B4930875}"/>
                </a:ext>
              </a:extLst>
            </p:cNvPr>
            <p:cNvCxnSpPr>
              <a:cxnSpLocks/>
            </p:cNvCxnSpPr>
            <p:nvPr/>
          </p:nvCxnSpPr>
          <p:spPr>
            <a:xfrm>
              <a:off x="594424" y="4761531"/>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A1B7FACB-12A8-20C6-4E08-568CDC8E0749}"/>
                </a:ext>
              </a:extLst>
            </p:cNvPr>
            <p:cNvCxnSpPr>
              <a:cxnSpLocks/>
            </p:cNvCxnSpPr>
            <p:nvPr/>
          </p:nvCxnSpPr>
          <p:spPr>
            <a:xfrm>
              <a:off x="594424" y="5082589"/>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93605830-8A6A-B8AB-6845-883D3FCAA3D6}"/>
                </a:ext>
              </a:extLst>
            </p:cNvPr>
            <p:cNvCxnSpPr>
              <a:cxnSpLocks/>
            </p:cNvCxnSpPr>
            <p:nvPr/>
          </p:nvCxnSpPr>
          <p:spPr>
            <a:xfrm>
              <a:off x="594424" y="5724705"/>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6E038DC0-C830-7575-E372-805CB75AA6AB}"/>
                </a:ext>
              </a:extLst>
            </p:cNvPr>
            <p:cNvCxnSpPr>
              <a:cxnSpLocks/>
            </p:cNvCxnSpPr>
            <p:nvPr/>
          </p:nvCxnSpPr>
          <p:spPr>
            <a:xfrm>
              <a:off x="594424" y="5403647"/>
              <a:ext cx="11089576"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877466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HINKCELLUNDODONOTDELETE" val="0"/>
  <p:tag name="TEMPLATELASTEDITED" val="2021-09-23 06:12 PM"/>
  <p:tag name="LINKEDPICTURESLINKREMOVED" val="True"/>
  <p:tag name="TCCONTRASTACCENTS" val="4|5|6|7|8|9"/>
  <p:tag name="TCLIGHTACCENTS" val="4|5|6|7|8|9"/>
  <p:tag name="ICONLINEFILLTHEME" val="Accent 1"/>
  <p:tag name="ICONENCLOSURE" val="False"/>
  <p:tag name="ICONLINEFILL" val="Color [A=255, R=0, G=174, B=199]"/>
  <p:tag name="THINKCELLPRESENTATIONDONOTDELETE" val="&lt;?xml version=&quot;1.0&quot; encoding=&quot;UTF-16&quot; standalone=&quot;yes&quot;?&gt;&lt;root reqver=&quot;28224&quot;&gt;&lt;version val=&quot;3583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quot;&gt;&lt;elem m_fUsage=&quot;4.09510000000000040643E+00&quot;&gt;&lt;m_msothmcolidx val=&quot;0&quot;/&gt;&lt;m_rgb r=&quot;06&quot; g=&quot;1F&quot; b=&quot;79&quot;/&gt;&lt;/elem&gt;&lt;elem m_fUsage=&quot;1.12193100000000001160E+00&quot;&gt;&lt;m_msothmcolidx val=&quot;0&quot;/&gt;&lt;m_rgb r=&quot;01&quot; g=&quot;59&quot; b=&quot;A2&quot;/&gt;&lt;/elem&gt;&lt;/m_vecMRU&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4.xml><?xml version="1.0" encoding="utf-8"?>
<p:tagLst xmlns:a="http://schemas.openxmlformats.org/drawingml/2006/main" xmlns:r="http://schemas.openxmlformats.org/officeDocument/2006/relationships" xmlns:p="http://schemas.openxmlformats.org/presentationml/2006/main">
  <p:tag name="SHAPENAME" val="5. Source"/>
</p:tagLst>
</file>

<file path=ppt/tags/tag1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SHAPENAME" val="5. Source"/>
</p:tagLst>
</file>

<file path=ppt/tags/tag1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1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5.xml><?xml version="1.0" encoding="utf-8"?>
<p:tagLst xmlns:a="http://schemas.openxmlformats.org/drawingml/2006/main" xmlns:r="http://schemas.openxmlformats.org/officeDocument/2006/relationships" xmlns:p="http://schemas.openxmlformats.org/presentationml/2006/main">
  <p:tag name="SHAPENAME" val="Grid"/>
</p:tagLst>
</file>

<file path=ppt/tags/tag116.xml><?xml version="1.0" encoding="utf-8"?>
<p:tagLst xmlns:a="http://schemas.openxmlformats.org/drawingml/2006/main" xmlns:r="http://schemas.openxmlformats.org/officeDocument/2006/relationships" xmlns:p="http://schemas.openxmlformats.org/presentationml/2006/main">
  <p:tag name="SHAPENAME" val="4. Footnote"/>
</p:tagLst>
</file>

<file path=ppt/tags/tag117.xml><?xml version="1.0" encoding="utf-8"?>
<p:tagLst xmlns:a="http://schemas.openxmlformats.org/drawingml/2006/main" xmlns:r="http://schemas.openxmlformats.org/officeDocument/2006/relationships" xmlns:p="http://schemas.openxmlformats.org/presentationml/2006/main">
  <p:tag name="NAME" val="ACET"/>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Subtitle"/>
</p:tagLst>
</file>

<file path=ppt/tags/tag121.xml><?xml version="1.0" encoding="utf-8"?>
<p:tagLst xmlns:a="http://schemas.openxmlformats.org/drawingml/2006/main" xmlns:r="http://schemas.openxmlformats.org/officeDocument/2006/relationships" xmlns:p="http://schemas.openxmlformats.org/presentationml/2006/main">
  <p:tag name="SHAPENAME" val="Titl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7.xml><?xml version="1.0" encoding="utf-8"?>
<p:tagLst xmlns:a="http://schemas.openxmlformats.org/drawingml/2006/main" xmlns:r="http://schemas.openxmlformats.org/officeDocument/2006/relationships" xmlns:p="http://schemas.openxmlformats.org/presentationml/2006/main">
  <p:tag name="SHAPENAME" val="5. Source"/>
</p:tagLst>
</file>

<file path=ppt/tags/tag1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1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1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9.xml><?xml version="1.0" encoding="utf-8"?>
<p:tagLst xmlns:a="http://schemas.openxmlformats.org/drawingml/2006/main" xmlns:r="http://schemas.openxmlformats.org/officeDocument/2006/relationships" xmlns:p="http://schemas.openxmlformats.org/presentationml/2006/main">
  <p:tag name="SHAPENAME" val="5. Source"/>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1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5.xml><?xml version="1.0" encoding="utf-8"?>
<p:tagLst xmlns:a="http://schemas.openxmlformats.org/drawingml/2006/main" xmlns:r="http://schemas.openxmlformats.org/officeDocument/2006/relationships" xmlns:p="http://schemas.openxmlformats.org/presentationml/2006/main">
  <p:tag name="SHAPENAME" val="5. Source"/>
</p:tagLst>
</file>

<file path=ppt/tags/tag1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1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2.xml><?xml version="1.0" encoding="utf-8"?>
<p:tagLst xmlns:a="http://schemas.openxmlformats.org/drawingml/2006/main" xmlns:r="http://schemas.openxmlformats.org/officeDocument/2006/relationships" xmlns:p="http://schemas.openxmlformats.org/presentationml/2006/main">
  <p:tag name="SHAPENAME" val="5. Source"/>
</p:tagLst>
</file>

<file path=ppt/tags/tag1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15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60.xml><?xml version="1.0" encoding="utf-8"?>
<p:tagLst xmlns:a="http://schemas.openxmlformats.org/drawingml/2006/main" xmlns:r="http://schemas.openxmlformats.org/officeDocument/2006/relationships" xmlns:p="http://schemas.openxmlformats.org/presentationml/2006/main">
  <p:tag name="SHAPENAME" val="5. Source"/>
</p:tagLst>
</file>

<file path=ppt/tags/tag1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16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8.xml><?xml version="1.0" encoding="utf-8"?>
<p:tagLst xmlns:a="http://schemas.openxmlformats.org/drawingml/2006/main" xmlns:r="http://schemas.openxmlformats.org/officeDocument/2006/relationships" xmlns:p="http://schemas.openxmlformats.org/presentationml/2006/main">
  <p:tag name="SHAPENAME" val="5. Source"/>
</p:tagLst>
</file>

<file path=ppt/tags/tag1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17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4.xml><?xml version="1.0" encoding="utf-8"?>
<p:tagLst xmlns:a="http://schemas.openxmlformats.org/drawingml/2006/main" xmlns:r="http://schemas.openxmlformats.org/officeDocument/2006/relationships" xmlns:p="http://schemas.openxmlformats.org/presentationml/2006/main">
  <p:tag name="SHAPENAME" val="5. Source"/>
</p:tagLst>
</file>

<file path=ppt/tags/tag1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18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19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00.xml><?xml version="1.0" encoding="utf-8"?>
<p:tagLst xmlns:a="http://schemas.openxmlformats.org/drawingml/2006/main" xmlns:r="http://schemas.openxmlformats.org/officeDocument/2006/relationships" xmlns:p="http://schemas.openxmlformats.org/presentationml/2006/main">
  <p:tag name="SHAPENAME" val="5. Source"/>
</p:tagLst>
</file>

<file path=ppt/tags/tag2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20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SHAPENAME" val="5. Source"/>
</p:tagLst>
</file>

<file path=ppt/tags/tag2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21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4.xml><?xml version="1.0" encoding="utf-8"?>
<p:tagLst xmlns:a="http://schemas.openxmlformats.org/drawingml/2006/main" xmlns:r="http://schemas.openxmlformats.org/officeDocument/2006/relationships" xmlns:p="http://schemas.openxmlformats.org/presentationml/2006/main">
  <p:tag name="SHAPENAME" val="5. Source"/>
</p:tagLst>
</file>

<file path=ppt/tags/tag2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2.xml><?xml version="1.0" encoding="utf-8"?>
<p:tagLst xmlns:a="http://schemas.openxmlformats.org/drawingml/2006/main" xmlns:r="http://schemas.openxmlformats.org/officeDocument/2006/relationships" xmlns:p="http://schemas.openxmlformats.org/presentationml/2006/main">
  <p:tag name="SHAPENAME" val="5. Source"/>
</p:tagLst>
</file>

<file path=ppt/tags/tag2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6.xml><?xml version="1.0" encoding="utf-8"?>
<p:tagLst xmlns:a="http://schemas.openxmlformats.org/drawingml/2006/main" xmlns:r="http://schemas.openxmlformats.org/officeDocument/2006/relationships" xmlns:p="http://schemas.openxmlformats.org/presentationml/2006/main">
  <p:tag name="SHAPENAME" val="5. Source"/>
</p:tagLst>
</file>

<file path=ppt/tags/tag2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SHAPENAME" val="5. Sourc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23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4.xml><?xml version="1.0" encoding="utf-8"?>
<p:tagLst xmlns:a="http://schemas.openxmlformats.org/drawingml/2006/main" xmlns:r="http://schemas.openxmlformats.org/officeDocument/2006/relationships" xmlns:p="http://schemas.openxmlformats.org/presentationml/2006/main">
  <p:tag name="SHAPENAME" val="4. Footnote"/>
</p:tagLst>
</file>

<file path=ppt/tags/tag235.xml><?xml version="1.0" encoding="utf-8"?>
<p:tagLst xmlns:a="http://schemas.openxmlformats.org/drawingml/2006/main" xmlns:r="http://schemas.openxmlformats.org/officeDocument/2006/relationships" xmlns:p="http://schemas.openxmlformats.org/presentationml/2006/main">
  <p:tag name="SHAPENAME" val="Grid"/>
</p:tagLst>
</file>

<file path=ppt/tags/tag236.xml><?xml version="1.0" encoding="utf-8"?>
<p:tagLst xmlns:a="http://schemas.openxmlformats.org/drawingml/2006/main" xmlns:r="http://schemas.openxmlformats.org/officeDocument/2006/relationships" xmlns:p="http://schemas.openxmlformats.org/presentationml/2006/main">
  <p:tag name="NAME" val="Moon"/>
</p:tagLst>
</file>

<file path=ppt/tags/tag237.xml><?xml version="1.0" encoding="utf-8"?>
<p:tagLst xmlns:a="http://schemas.openxmlformats.org/drawingml/2006/main" xmlns:r="http://schemas.openxmlformats.org/officeDocument/2006/relationships" xmlns:p="http://schemas.openxmlformats.org/presentationml/2006/main">
  <p:tag name="NAME" val="Moon"/>
</p:tagLst>
</file>

<file path=ppt/tags/tag238.xml><?xml version="1.0" encoding="utf-8"?>
<p:tagLst xmlns:a="http://schemas.openxmlformats.org/drawingml/2006/main" xmlns:r="http://schemas.openxmlformats.org/officeDocument/2006/relationships" xmlns:p="http://schemas.openxmlformats.org/presentationml/2006/main">
  <p:tag name="NAME" val="Moon"/>
</p:tagLst>
</file>

<file path=ppt/tags/tag239.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40.xml><?xml version="1.0" encoding="utf-8"?>
<p:tagLst xmlns:a="http://schemas.openxmlformats.org/drawingml/2006/main" xmlns:r="http://schemas.openxmlformats.org/officeDocument/2006/relationships" xmlns:p="http://schemas.openxmlformats.org/presentationml/2006/main">
  <p:tag name="NAME" val="Moon"/>
</p:tagLst>
</file>

<file path=ppt/tags/tag241.xml><?xml version="1.0" encoding="utf-8"?>
<p:tagLst xmlns:a="http://schemas.openxmlformats.org/drawingml/2006/main" xmlns:r="http://schemas.openxmlformats.org/officeDocument/2006/relationships" xmlns:p="http://schemas.openxmlformats.org/presentationml/2006/main">
  <p:tag name="ANGLE" val="5"/>
</p:tagLst>
</file>

<file path=ppt/tags/tag242.xml><?xml version="1.0" encoding="utf-8"?>
<p:tagLst xmlns:a="http://schemas.openxmlformats.org/drawingml/2006/main" xmlns:r="http://schemas.openxmlformats.org/officeDocument/2006/relationships" xmlns:p="http://schemas.openxmlformats.org/presentationml/2006/main">
  <p:tag name="ANGLE" val="5"/>
</p:tagLst>
</file>

<file path=ppt/tags/tag243.xml><?xml version="1.0" encoding="utf-8"?>
<p:tagLst xmlns:a="http://schemas.openxmlformats.org/drawingml/2006/main" xmlns:r="http://schemas.openxmlformats.org/officeDocument/2006/relationships" xmlns:p="http://schemas.openxmlformats.org/presentationml/2006/main">
  <p:tag name="ANGLE" val="4"/>
</p:tagLst>
</file>

<file path=ppt/tags/tag244.xml><?xml version="1.0" encoding="utf-8"?>
<p:tagLst xmlns:a="http://schemas.openxmlformats.org/drawingml/2006/main" xmlns:r="http://schemas.openxmlformats.org/officeDocument/2006/relationships" xmlns:p="http://schemas.openxmlformats.org/presentationml/2006/main">
  <p:tag name="ANGLE" val="4"/>
</p:tagLst>
</file>

<file path=ppt/tags/tag245.xml><?xml version="1.0" encoding="utf-8"?>
<p:tagLst xmlns:a="http://schemas.openxmlformats.org/drawingml/2006/main" xmlns:r="http://schemas.openxmlformats.org/officeDocument/2006/relationships" xmlns:p="http://schemas.openxmlformats.org/presentationml/2006/main">
  <p:tag name="ANGLE" val="3"/>
</p:tagLst>
</file>

<file path=ppt/tags/tag246.xml><?xml version="1.0" encoding="utf-8"?>
<p:tagLst xmlns:a="http://schemas.openxmlformats.org/drawingml/2006/main" xmlns:r="http://schemas.openxmlformats.org/officeDocument/2006/relationships" xmlns:p="http://schemas.openxmlformats.org/presentationml/2006/main">
  <p:tag name="ANGLE" val="3"/>
</p:tagLst>
</file>

<file path=ppt/tags/tag247.xml><?xml version="1.0" encoding="utf-8"?>
<p:tagLst xmlns:a="http://schemas.openxmlformats.org/drawingml/2006/main" xmlns:r="http://schemas.openxmlformats.org/officeDocument/2006/relationships" xmlns:p="http://schemas.openxmlformats.org/presentationml/2006/main">
  <p:tag name="ANGLE" val="2"/>
</p:tagLst>
</file>

<file path=ppt/tags/tag248.xml><?xml version="1.0" encoding="utf-8"?>
<p:tagLst xmlns:a="http://schemas.openxmlformats.org/drawingml/2006/main" xmlns:r="http://schemas.openxmlformats.org/officeDocument/2006/relationships" xmlns:p="http://schemas.openxmlformats.org/presentationml/2006/main">
  <p:tag name="ANGLE" val="2"/>
</p:tagLst>
</file>

<file path=ppt/tags/tag249.xml><?xml version="1.0" encoding="utf-8"?>
<p:tagLst xmlns:a="http://schemas.openxmlformats.org/drawingml/2006/main" xmlns:r="http://schemas.openxmlformats.org/officeDocument/2006/relationships" xmlns:p="http://schemas.openxmlformats.org/presentationml/2006/main">
  <p:tag name="ANGLE" val="1"/>
</p:tagLst>
</file>

<file path=ppt/tags/tag2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50.xml><?xml version="1.0" encoding="utf-8"?>
<p:tagLst xmlns:a="http://schemas.openxmlformats.org/drawingml/2006/main" xmlns:r="http://schemas.openxmlformats.org/officeDocument/2006/relationships" xmlns:p="http://schemas.openxmlformats.org/presentationml/2006/main">
  <p:tag name="ANGLE" val="1"/>
</p:tagLst>
</file>

<file path=ppt/tags/tag251.xml><?xml version="1.0" encoding="utf-8"?>
<p:tagLst xmlns:a="http://schemas.openxmlformats.org/drawingml/2006/main" xmlns:r="http://schemas.openxmlformats.org/officeDocument/2006/relationships" xmlns:p="http://schemas.openxmlformats.org/presentationml/2006/main">
  <p:tag name="BACKGROUNDCOLOR" val="med"/>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54.xml><?xml version="1.0" encoding="utf-8"?>
<p:tagLst xmlns:a="http://schemas.openxmlformats.org/drawingml/2006/main" xmlns:r="http://schemas.openxmlformats.org/officeDocument/2006/relationships" xmlns:p="http://schemas.openxmlformats.org/presentationml/2006/main">
  <p:tag name="NAME" val="_new_logoimage"/>
</p:tagLst>
</file>

<file path=ppt/tags/tag255.xml><?xml version="1.0" encoding="utf-8"?>
<p:tagLst xmlns:a="http://schemas.openxmlformats.org/drawingml/2006/main" xmlns:r="http://schemas.openxmlformats.org/officeDocument/2006/relationships" xmlns:p="http://schemas.openxmlformats.org/presentationml/2006/main">
  <p:tag name="SHAPENAME" val="ClientLogo"/>
</p:tagLst>
</file>

<file path=ppt/tags/tag25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57.xml><?xml version="1.0" encoding="utf-8"?>
<p:tagLst xmlns:a="http://schemas.openxmlformats.org/drawingml/2006/main" xmlns:r="http://schemas.openxmlformats.org/officeDocument/2006/relationships" xmlns:p="http://schemas.openxmlformats.org/presentationml/2006/main">
  <p:tag name="SHAPENAME" val="Subtitle"/>
</p:tagLst>
</file>

<file path=ppt/tags/tag258.xml><?xml version="1.0" encoding="utf-8"?>
<p:tagLst xmlns:a="http://schemas.openxmlformats.org/drawingml/2006/main" xmlns:r="http://schemas.openxmlformats.org/officeDocument/2006/relationships" xmlns:p="http://schemas.openxmlformats.org/presentationml/2006/main">
  <p:tag name="SHAPENAME" val="Title"/>
</p:tagLst>
</file>

<file path=ppt/tags/tag259.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26.xml><?xml version="1.0" encoding="utf-8"?>
<p:tagLst xmlns:a="http://schemas.openxmlformats.org/drawingml/2006/main" xmlns:r="http://schemas.openxmlformats.org/officeDocument/2006/relationships" xmlns:p="http://schemas.openxmlformats.org/presentationml/2006/main">
  <p:tag name="SHAPENAME" val="Subtitl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2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4.xml><?xml version="1.0" encoding="utf-8"?>
<p:tagLst xmlns:a="http://schemas.openxmlformats.org/drawingml/2006/main" xmlns:r="http://schemas.openxmlformats.org/officeDocument/2006/relationships" xmlns:p="http://schemas.openxmlformats.org/presentationml/2006/main">
  <p:tag name="SHAPENAME" val="5. Source"/>
</p:tagLst>
</file>

<file path=ppt/tags/tag2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7.xml><?xml version="1.0" encoding="utf-8"?>
<p:tagLst xmlns:a="http://schemas.openxmlformats.org/drawingml/2006/main" xmlns:r="http://schemas.openxmlformats.org/officeDocument/2006/relationships" xmlns:p="http://schemas.openxmlformats.org/presentationml/2006/main">
  <p:tag name="SLIDELOOKUP" val="202511060734191472561"/>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27.xml><?xml version="1.0" encoding="utf-8"?>
<p:tagLst xmlns:a="http://schemas.openxmlformats.org/drawingml/2006/main" xmlns:r="http://schemas.openxmlformats.org/officeDocument/2006/relationships" xmlns:p="http://schemas.openxmlformats.org/presentationml/2006/main">
  <p:tag name="SHAPENAME" val="Title"/>
</p:tagLst>
</file>

<file path=ppt/tags/tag270.xml><?xml version="1.0" encoding="utf-8"?>
<p:tagLst xmlns:a="http://schemas.openxmlformats.org/drawingml/2006/main" xmlns:r="http://schemas.openxmlformats.org/officeDocument/2006/relationships" xmlns:p="http://schemas.openxmlformats.org/presentationml/2006/main">
  <p:tag name="SHAPENAME" val="Title"/>
</p:tagLst>
</file>

<file path=ppt/tags/tag27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4.xml><?xml version="1.0" encoding="utf-8"?>
<p:tagLst xmlns:a="http://schemas.openxmlformats.org/drawingml/2006/main" xmlns:r="http://schemas.openxmlformats.org/officeDocument/2006/relationships" xmlns:p="http://schemas.openxmlformats.org/presentationml/2006/main">
  <p:tag name="NAME" val="CustomIcon"/>
</p:tagLst>
</file>

<file path=ppt/tags/tag275.xml><?xml version="1.0" encoding="utf-8"?>
<p:tagLst xmlns:a="http://schemas.openxmlformats.org/drawingml/2006/main" xmlns:r="http://schemas.openxmlformats.org/officeDocument/2006/relationships" xmlns:p="http://schemas.openxmlformats.org/presentationml/2006/main">
  <p:tag name="NAME" val="CustomIcon"/>
</p:tagLst>
</file>

<file path=ppt/tags/tag276.xml><?xml version="1.0" encoding="utf-8"?>
<p:tagLst xmlns:a="http://schemas.openxmlformats.org/drawingml/2006/main" xmlns:r="http://schemas.openxmlformats.org/officeDocument/2006/relationships" xmlns:p="http://schemas.openxmlformats.org/presentationml/2006/main">
  <p:tag name="NAME" val="CustomIcon"/>
</p:tagLst>
</file>

<file path=ppt/tags/tag277.xml><?xml version="1.0" encoding="utf-8"?>
<p:tagLst xmlns:a="http://schemas.openxmlformats.org/drawingml/2006/main" xmlns:r="http://schemas.openxmlformats.org/officeDocument/2006/relationships" xmlns:p="http://schemas.openxmlformats.org/presentationml/2006/main">
  <p:tag name="SLIDELOOKUP" val="20260105223710938144894327414"/>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281.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282.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283.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284.xml><?xml version="1.0" encoding="utf-8"?>
<p:tagLst xmlns:a="http://schemas.openxmlformats.org/drawingml/2006/main" xmlns:r="http://schemas.openxmlformats.org/officeDocument/2006/relationships" xmlns:p="http://schemas.openxmlformats.org/presentationml/2006/main">
  <p:tag name="NAME" val="TrackerNumBlue"/>
</p:tagLst>
</file>

<file path=ppt/tags/tag285.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286.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287.xml><?xml version="1.0" encoding="utf-8"?>
<p:tagLst xmlns:a="http://schemas.openxmlformats.org/drawingml/2006/main" xmlns:r="http://schemas.openxmlformats.org/officeDocument/2006/relationships" xmlns:p="http://schemas.openxmlformats.org/presentationml/2006/main">
  <p:tag name="NAME" val="TrackerNumBlue"/>
</p:tagLst>
</file>

<file path=ppt/tags/tag288.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289.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0.xml><?xml version="1.0" encoding="utf-8"?>
<p:tagLst xmlns:a="http://schemas.openxmlformats.org/drawingml/2006/main" xmlns:r="http://schemas.openxmlformats.org/officeDocument/2006/relationships" xmlns:p="http://schemas.openxmlformats.org/presentationml/2006/main">
  <p:tag name="NAME" val="TrackerNumBlue"/>
</p:tagLst>
</file>

<file path=ppt/tags/tag291.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292.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293.xml><?xml version="1.0" encoding="utf-8"?>
<p:tagLst xmlns:a="http://schemas.openxmlformats.org/drawingml/2006/main" xmlns:r="http://schemas.openxmlformats.org/officeDocument/2006/relationships" xmlns:p="http://schemas.openxmlformats.org/presentationml/2006/main">
  <p:tag name="NAME" val="TrackerNumBlue"/>
</p:tagLst>
</file>

<file path=ppt/tags/tag294.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295.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296.xml><?xml version="1.0" encoding="utf-8"?>
<p:tagLst xmlns:a="http://schemas.openxmlformats.org/drawingml/2006/main" xmlns:r="http://schemas.openxmlformats.org/officeDocument/2006/relationships" xmlns:p="http://schemas.openxmlformats.org/presentationml/2006/main">
  <p:tag name="NAME" val="TrackerNumBlue"/>
</p:tagLst>
</file>

<file path=ppt/tags/tag297.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298.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299.xml><?xml version="1.0" encoding="utf-8"?>
<p:tagLst xmlns:a="http://schemas.openxmlformats.org/drawingml/2006/main" xmlns:r="http://schemas.openxmlformats.org/officeDocument/2006/relationships" xmlns:p="http://schemas.openxmlformats.org/presentationml/2006/main">
  <p:tag name="NAME" val="TrackerNumBlue"/>
</p:tagLst>
</file>

<file path=ppt/tags/tag3.xml><?xml version="1.0" encoding="utf-8"?>
<p:tagLst xmlns:a="http://schemas.openxmlformats.org/drawingml/2006/main" xmlns:r="http://schemas.openxmlformats.org/officeDocument/2006/relationships" xmlns:p="http://schemas.openxmlformats.org/presentationml/2006/main">
  <p:tag name="NOREPLACE" val="true"/>
</p:tagLst>
</file>

<file path=ppt/tags/tag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0.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301.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302.xml><?xml version="1.0" encoding="utf-8"?>
<p:tagLst xmlns:a="http://schemas.openxmlformats.org/drawingml/2006/main" xmlns:r="http://schemas.openxmlformats.org/officeDocument/2006/relationships" xmlns:p="http://schemas.openxmlformats.org/presentationml/2006/main">
  <p:tag name="NAME" val="TrackerNumBlue"/>
</p:tagLst>
</file>

<file path=ppt/tags/tag303.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304.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305.xml><?xml version="1.0" encoding="utf-8"?>
<p:tagLst xmlns:a="http://schemas.openxmlformats.org/drawingml/2006/main" xmlns:r="http://schemas.openxmlformats.org/officeDocument/2006/relationships" xmlns:p="http://schemas.openxmlformats.org/presentationml/2006/main">
  <p:tag name="NAME" val="TrackerNumBlue"/>
</p:tagLst>
</file>

<file path=ppt/tags/tag306.xml><?xml version="1.0" encoding="utf-8"?>
<p:tagLst xmlns:a="http://schemas.openxmlformats.org/drawingml/2006/main" xmlns:r="http://schemas.openxmlformats.org/officeDocument/2006/relationships" xmlns:p="http://schemas.openxmlformats.org/presentationml/2006/main">
  <p:tag name="SLIDELOOKUP" val="20260105223710938144894327414"/>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9.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0.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311.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312.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313.xml><?xml version="1.0" encoding="utf-8"?>
<p:tagLst xmlns:a="http://schemas.openxmlformats.org/drawingml/2006/main" xmlns:r="http://schemas.openxmlformats.org/officeDocument/2006/relationships" xmlns:p="http://schemas.openxmlformats.org/presentationml/2006/main">
  <p:tag name="NAME" val="TrackerNumBlue"/>
</p:tagLst>
</file>

<file path=ppt/tags/tag314.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315.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316.xml><?xml version="1.0" encoding="utf-8"?>
<p:tagLst xmlns:a="http://schemas.openxmlformats.org/drawingml/2006/main" xmlns:r="http://schemas.openxmlformats.org/officeDocument/2006/relationships" xmlns:p="http://schemas.openxmlformats.org/presentationml/2006/main">
  <p:tag name="NAME" val="TrackerNumBlue"/>
</p:tagLst>
</file>

<file path=ppt/tags/tag317.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318.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319.xml><?xml version="1.0" encoding="utf-8"?>
<p:tagLst xmlns:a="http://schemas.openxmlformats.org/drawingml/2006/main" xmlns:r="http://schemas.openxmlformats.org/officeDocument/2006/relationships" xmlns:p="http://schemas.openxmlformats.org/presentationml/2006/main">
  <p:tag name="NAME" val="TrackerNumBlue"/>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20.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321.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322.xml><?xml version="1.0" encoding="utf-8"?>
<p:tagLst xmlns:a="http://schemas.openxmlformats.org/drawingml/2006/main" xmlns:r="http://schemas.openxmlformats.org/officeDocument/2006/relationships" xmlns:p="http://schemas.openxmlformats.org/presentationml/2006/main">
  <p:tag name="NAME" val="TrackerNumBlue"/>
</p:tagLst>
</file>

<file path=ppt/tags/tag323.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324.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325.xml><?xml version="1.0" encoding="utf-8"?>
<p:tagLst xmlns:a="http://schemas.openxmlformats.org/drawingml/2006/main" xmlns:r="http://schemas.openxmlformats.org/officeDocument/2006/relationships" xmlns:p="http://schemas.openxmlformats.org/presentationml/2006/main">
  <p:tag name="NAME" val="TrackerNumBlue"/>
</p:tagLst>
</file>

<file path=ppt/tags/tag326.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327.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328.xml><?xml version="1.0" encoding="utf-8"?>
<p:tagLst xmlns:a="http://schemas.openxmlformats.org/drawingml/2006/main" xmlns:r="http://schemas.openxmlformats.org/officeDocument/2006/relationships" xmlns:p="http://schemas.openxmlformats.org/presentationml/2006/main">
  <p:tag name="NAME" val="TrackerNumBlue"/>
</p:tagLst>
</file>

<file path=ppt/tags/tag329.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0.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331.xml><?xml version="1.0" encoding="utf-8"?>
<p:tagLst xmlns:a="http://schemas.openxmlformats.org/drawingml/2006/main" xmlns:r="http://schemas.openxmlformats.org/officeDocument/2006/relationships" xmlns:p="http://schemas.openxmlformats.org/presentationml/2006/main">
  <p:tag name="NAME" val="TrackerNumBlue"/>
</p:tagLst>
</file>

<file path=ppt/tags/tag332.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333.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334.xml><?xml version="1.0" encoding="utf-8"?>
<p:tagLst xmlns:a="http://schemas.openxmlformats.org/drawingml/2006/main" xmlns:r="http://schemas.openxmlformats.org/officeDocument/2006/relationships" xmlns:p="http://schemas.openxmlformats.org/presentationml/2006/main">
  <p:tag name="NAME" val="TrackerNumBlu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10"/>
  <p:tag name="WIDTH" val="158"/>
</p:tagLst>
</file>

<file path=ppt/tags/tag337.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338.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339.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1.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342.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343.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344.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345.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346.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347.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348.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349.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351.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352.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353.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354.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355.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356.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357.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358.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359.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60.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361.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362.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363.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364.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365.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366.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367.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368.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369.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0.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371.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372.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373.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374.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375.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376.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377.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378.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379.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0.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381.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382.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383.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384.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385.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386.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387.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388.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389.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39.xml><?xml version="1.0" encoding="utf-8"?>
<p:tagLst xmlns:a="http://schemas.openxmlformats.org/drawingml/2006/main" xmlns:r="http://schemas.openxmlformats.org/officeDocument/2006/relationships" xmlns:p="http://schemas.openxmlformats.org/presentationml/2006/main">
  <p:tag name="SHAPENAME" val="5. Source"/>
</p:tagLst>
</file>

<file path=ppt/tags/tag390.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3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2.xml><?xml version="1.0" encoding="utf-8"?>
<p:tagLst xmlns:a="http://schemas.openxmlformats.org/drawingml/2006/main" xmlns:r="http://schemas.openxmlformats.org/officeDocument/2006/relationships" xmlns:p="http://schemas.openxmlformats.org/presentationml/2006/main">
  <p:tag name="NAME" val="4. Footnote"/>
</p:tagLst>
</file>

<file path=ppt/tags/tag393.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394.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395.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396.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397.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398.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399.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0.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01.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02.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03.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10"/>
  <p:tag name="WIDTH" val="158"/>
</p:tagLst>
</file>

<file path=ppt/tags/tag404.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05.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06.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07.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408.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09.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11.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412.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13.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414.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15.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416.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17.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418.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19.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20.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21.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422.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23.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424.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25.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426.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27.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428.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29.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0.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31.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432.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33.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434.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35.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436.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37.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38.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39.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0.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41.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42.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43.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44.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45.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46.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47.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48.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49.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5.xml><?xml version="1.0" encoding="utf-8"?>
<p:tagLst xmlns:a="http://schemas.openxmlformats.org/drawingml/2006/main" xmlns:r="http://schemas.openxmlformats.org/officeDocument/2006/relationships" xmlns:p="http://schemas.openxmlformats.org/presentationml/2006/main">
  <p:tag name="SHAPENAME" val="5. Source"/>
</p:tagLst>
</file>

<file path=ppt/tags/tag450.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51.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52.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53.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54.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55.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56.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57.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58.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59.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0.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61.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62.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63.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64.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65.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66.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10"/>
  <p:tag name="WIDTH" val="158"/>
</p:tagLst>
</file>

<file path=ppt/tags/tag469.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71.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3.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474.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75.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476.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77.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478.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79.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80.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81.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482.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83.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484.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85.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486.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87.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488.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89.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0.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91.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492.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93.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494.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95.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496.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97.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498.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499.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5.xml><?xml version="1.0" encoding="utf-8"?>
<p:tagLst xmlns:a="http://schemas.openxmlformats.org/drawingml/2006/main" xmlns:r="http://schemas.openxmlformats.org/officeDocument/2006/relationships" xmlns:p="http://schemas.openxmlformats.org/presentationml/2006/main">
  <p:tag name="SHAPENAME" val="4. Footnote"/>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0.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01.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502.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03.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04.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05.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06.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07.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08.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09.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1.xml><?xml version="1.0" encoding="utf-8"?>
<p:tagLst xmlns:a="http://schemas.openxmlformats.org/drawingml/2006/main" xmlns:r="http://schemas.openxmlformats.org/officeDocument/2006/relationships" xmlns:p="http://schemas.openxmlformats.org/presentationml/2006/main">
  <p:tag name="SHAPENAME" val="5. Source"/>
</p:tagLst>
</file>

<file path=ppt/tags/tag510.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11.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12.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13.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14.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15.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16.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17.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18.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0.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21.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22.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23.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24.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25.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26.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27.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28.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29.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31.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32.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33.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34.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10"/>
  <p:tag name="WIDTH" val="158"/>
</p:tagLst>
</file>

<file path=ppt/tags/tag535.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36.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37.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38.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539.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40.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541.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42.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543.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44.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545.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46.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547.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48.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549.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0.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551.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52.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553.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54.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555.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56.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557.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58.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559.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0.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561.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62.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563.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64.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565.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66.xml><?xml version="1.0" encoding="utf-8"?>
<p:tagLst xmlns:a="http://schemas.openxmlformats.org/drawingml/2006/main" xmlns:r="http://schemas.openxmlformats.org/officeDocument/2006/relationships" xmlns:p="http://schemas.openxmlformats.org/presentationml/2006/main">
  <p:tag name="HEIGHT" val="1.052598"/>
  <p:tag name="LEFT" val="45"/>
  <p:tag name="MTNUMBER" val="0.641389475968382"/>
  <p:tag name="MTTABLE" val="Cell"/>
  <p:tag name="TOP" val="131.0526"/>
  <p:tag name="WIDTH" val="158"/>
</p:tagLst>
</file>

<file path=ppt/tags/tag567.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68.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69.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0.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71.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72.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73.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74.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75.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76.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77.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78.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79.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8.xml><?xml version="1.0" encoding="utf-8"?>
<p:tagLst xmlns:a="http://schemas.openxmlformats.org/drawingml/2006/main" xmlns:r="http://schemas.openxmlformats.org/officeDocument/2006/relationships" xmlns:p="http://schemas.openxmlformats.org/presentationml/2006/main">
  <p:tag name="SHAPENAME" val="5. Source"/>
</p:tagLst>
</file>

<file path=ppt/tags/tag580.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81.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82.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83.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84.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85.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86.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87.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88.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89.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0.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91.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92.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93.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94.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95.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96.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97.xml><?xml version="1.0" encoding="utf-8"?>
<p:tagLst xmlns:a="http://schemas.openxmlformats.org/drawingml/2006/main" xmlns:r="http://schemas.openxmlformats.org/officeDocument/2006/relationships" xmlns:p="http://schemas.openxmlformats.org/presentationml/2006/main">
  <p:tag name="HEIGHT" val="1.052598"/>
  <p:tag name="LEFT" val="401"/>
  <p:tag name="MTNUMBER" val="0.641389475968382"/>
  <p:tag name="MTTABLE" val="Cell"/>
  <p:tag name="TOP" val="110"/>
  <p:tag name="WIDTH" val="158"/>
</p:tagLst>
</file>

<file path=ppt/tags/tag598.xml><?xml version="1.0" encoding="utf-8"?>
<p:tagLst xmlns:a="http://schemas.openxmlformats.org/drawingml/2006/main" xmlns:r="http://schemas.openxmlformats.org/officeDocument/2006/relationships" xmlns:p="http://schemas.openxmlformats.org/presentationml/2006/main">
  <p:tag name="NAME" val="4. Footnote"/>
</p:tagLst>
</file>

<file path=ppt/tags/tag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6.xml><?xml version="1.0" encoding="utf-8"?>
<p:tagLst xmlns:a="http://schemas.openxmlformats.org/drawingml/2006/main" xmlns:r="http://schemas.openxmlformats.org/officeDocument/2006/relationships" xmlns:p="http://schemas.openxmlformats.org/presentationml/2006/main">
  <p:tag name="SHAPENAME" val="5. Source"/>
</p:tagLst>
</file>

<file path=ppt/tags/tag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7.xml><?xml version="1.0" encoding="utf-8"?>
<p:tagLst xmlns:a="http://schemas.openxmlformats.org/drawingml/2006/main" xmlns:r="http://schemas.openxmlformats.org/officeDocument/2006/relationships" xmlns:p="http://schemas.openxmlformats.org/presentationml/2006/main">
  <p:tag name="NAME" val="ACET"/>
</p:tagLst>
</file>

<file path=ppt/tags/tag7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xml><?xml version="1.0" encoding="utf-8"?>
<p:tagLst xmlns:a="http://schemas.openxmlformats.org/drawingml/2006/main" xmlns:r="http://schemas.openxmlformats.org/officeDocument/2006/relationships" xmlns:p="http://schemas.openxmlformats.org/presentationml/2006/main">
  <p:tag name="SHAPENAME" val="5. Source"/>
</p:tagLst>
</file>

<file path=ppt/tags/tag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2.xml><?xml version="1.0" encoding="utf-8"?>
<p:tagLst xmlns:a="http://schemas.openxmlformats.org/drawingml/2006/main" xmlns:r="http://schemas.openxmlformats.org/officeDocument/2006/relationships" xmlns:p="http://schemas.openxmlformats.org/presentationml/2006/main">
  <p:tag name="SHAPENAME" val="5. Source"/>
</p:tagLst>
</file>

<file path=ppt/tags/tag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5. Source"/>
</p:tagLst>
</file>

<file path=ppt/tags/tag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98.xml><?xml version="1.0" encoding="utf-8"?>
<p:tagLst xmlns:a="http://schemas.openxmlformats.org/drawingml/2006/main" xmlns:r="http://schemas.openxmlformats.org/officeDocument/2006/relationships" xmlns:p="http://schemas.openxmlformats.org/presentationml/2006/main">
  <p:tag name="SHAPENAME" val="5. Source"/>
</p:tagLst>
</file>

<file path=ppt/tags/tag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heme/theme1.xml><?xml version="1.0" encoding="utf-8"?>
<a:theme xmlns:a="http://schemas.openxmlformats.org/drawingml/2006/main" name="White">
  <a:themeElements>
    <a:clrScheme name="Scheme1">
      <a:dk1>
        <a:srgbClr val="000000"/>
      </a:dk1>
      <a:lt1>
        <a:srgbClr val="FFFFFF"/>
      </a:lt1>
      <a:dk2>
        <a:srgbClr val="FFFFFF"/>
      </a:dk2>
      <a:lt2>
        <a:srgbClr val="FFFFFF"/>
      </a:lt2>
      <a:accent1>
        <a:srgbClr val="00AEC7"/>
      </a:accent1>
      <a:accent2>
        <a:srgbClr val="7C858C"/>
      </a:accent2>
      <a:accent3>
        <a:srgbClr val="26D07C"/>
      </a:accent3>
      <a:accent4>
        <a:srgbClr val="003865"/>
      </a:accent4>
      <a:accent5>
        <a:srgbClr val="685BC7"/>
      </a:accent5>
      <a:accent6>
        <a:srgbClr val="1F8B9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AEC7"/>
        </a:accent1>
        <a:accent2>
          <a:srgbClr val="7C858C"/>
        </a:accent2>
        <a:accent3>
          <a:srgbClr val="26D07C"/>
        </a:accent3>
        <a:accent4>
          <a:srgbClr val="003865"/>
        </a:accent4>
        <a:accent5>
          <a:srgbClr val="685BC7"/>
        </a:accent5>
        <a:accent6>
          <a:srgbClr val="1F8B9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E6EBF0"/>
    </a:custClr>
    <a:custClr name="Custom Color7">
      <a:srgbClr val="5B6770"/>
    </a:custClr>
  </a:custClrLst>
  <a:extLst>
    <a:ext uri="{05A4C25C-085E-4340-85A3-A5531E510DB2}">
      <thm15:themeFamily xmlns:thm15="http://schemas.microsoft.com/office/thememl/2012/main" name="8595HP01_CF_16x9_ENG_V1.potx" id="{42F32C14-58EC-47D9-9028-847CDCF2A67E}" vid="{9AF27E40-36C6-4524-B55C-2496A44DAD24}"/>
    </a:ext>
  </a:extLst>
</a:theme>
</file>

<file path=ppt/theme/theme2.xml><?xml version="1.0" encoding="utf-8"?>
<a:theme xmlns:a="http://schemas.openxmlformats.org/drawingml/2006/main" name="Contrast">
  <a:themeElements>
    <a:clrScheme name="Scheme2">
      <a:dk1>
        <a:srgbClr val="FFFFFF"/>
      </a:dk1>
      <a:lt1>
        <a:srgbClr val="1F8B9D"/>
      </a:lt1>
      <a:dk2>
        <a:srgbClr val="000000"/>
      </a:dk2>
      <a:lt2>
        <a:srgbClr val="000000"/>
      </a:lt2>
      <a:accent1>
        <a:srgbClr val="FFFFFF"/>
      </a:accent1>
      <a:accent2>
        <a:srgbClr val="00AEC7"/>
      </a:accent2>
      <a:accent3>
        <a:srgbClr val="7C858C"/>
      </a:accent3>
      <a:accent4>
        <a:srgbClr val="26D07C"/>
      </a:accent4>
      <a:accent5>
        <a:srgbClr val="003865"/>
      </a:accent5>
      <a:accent6>
        <a:srgbClr val="685BC7"/>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1F8B9D"/>
        </a:lt1>
        <a:dk2>
          <a:srgbClr val="000000"/>
        </a:dk2>
        <a:lt2>
          <a:srgbClr val="000000"/>
        </a:lt2>
        <a:accent1>
          <a:srgbClr val="FFFFFF"/>
        </a:accent1>
        <a:accent2>
          <a:srgbClr val="00AEC7"/>
        </a:accent2>
        <a:accent3>
          <a:srgbClr val="7C858C"/>
        </a:accent3>
        <a:accent4>
          <a:srgbClr val="26D07C"/>
        </a:accent4>
        <a:accent5>
          <a:srgbClr val="003865"/>
        </a:accent5>
        <a:accent6>
          <a:srgbClr val="685BC7"/>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E6EBF0"/>
    </a:custClr>
    <a:custClr name="Custom Color7">
      <a:srgbClr val="5B6770"/>
    </a:custClr>
  </a:custClrLst>
  <a:extLst>
    <a:ext uri="{05A4C25C-085E-4340-85A3-A5531E510DB2}">
      <thm15:themeFamily xmlns:thm15="http://schemas.microsoft.com/office/thememl/2012/main" name="8595HP01_CF_16x9_ENG_V1.potx" id="{42F32C14-58EC-47D9-9028-847CDCF2A67E}" vid="{DD447390-42C6-4045-A404-EE24DB9FFF36}"/>
    </a:ext>
  </a:extLst>
</a:theme>
</file>

<file path=ppt/theme/theme3.xml><?xml version="1.0" encoding="utf-8"?>
<a:theme xmlns:a="http://schemas.openxmlformats.org/drawingml/2006/main" name="ERCOT_Theme16x9">
  <a:themeElements>
    <a:clrScheme name="ERCOT Brand Colors">
      <a:dk1>
        <a:srgbClr val="2D3338"/>
      </a:dk1>
      <a:lt1>
        <a:srgbClr val="FFFFFF"/>
      </a:lt1>
      <a:dk2>
        <a:srgbClr val="5B6770"/>
      </a:dk2>
      <a:lt2>
        <a:srgbClr val="E6EBF0"/>
      </a:lt2>
      <a:accent1>
        <a:srgbClr val="00AEC7"/>
      </a:accent1>
      <a:accent2>
        <a:srgbClr val="7C858C"/>
      </a:accent2>
      <a:accent3>
        <a:srgbClr val="26D07C"/>
      </a:accent3>
      <a:accent4>
        <a:srgbClr val="003865"/>
      </a:accent4>
      <a:accent5>
        <a:srgbClr val="685BC7"/>
      </a:accent5>
      <a:accent6>
        <a:srgbClr val="1F8B9D"/>
      </a:accent6>
      <a:hlink>
        <a:srgbClr val="0063B4"/>
      </a:hlink>
      <a:folHlink>
        <a:srgbClr val="800080"/>
      </a:folHlink>
    </a:clrScheme>
    <a:fontScheme name="H1-Aqu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RCOT-Deck16x9" id="{125EE698-CB85-4058-AACD-DC884F8F2E1C}" vid="{A2BC68F2-E462-495D-B23D-FE627BA1B0AA}"/>
    </a:ext>
  </a:extLst>
</a:theme>
</file>

<file path=ppt/theme/theme4.xml><?xml version="1.0" encoding="utf-8"?>
<a:theme xmlns:a="http://schemas.openxmlformats.org/drawingml/2006/main" name="Horizontal Theme">
  <a:themeElements>
    <a:clrScheme name="ERCOT Brand Colors">
      <a:dk1>
        <a:srgbClr val="2D3338"/>
      </a:dk1>
      <a:lt1>
        <a:srgbClr val="FFFFFF"/>
      </a:lt1>
      <a:dk2>
        <a:srgbClr val="5B6770"/>
      </a:dk2>
      <a:lt2>
        <a:srgbClr val="E6EBF0"/>
      </a:lt2>
      <a:accent1>
        <a:srgbClr val="00AEC7"/>
      </a:accent1>
      <a:accent2>
        <a:srgbClr val="7C858C"/>
      </a:accent2>
      <a:accent3>
        <a:srgbClr val="26D07C"/>
      </a:accent3>
      <a:accent4>
        <a:srgbClr val="003865"/>
      </a:accent4>
      <a:accent5>
        <a:srgbClr val="685BC7"/>
      </a:accent5>
      <a:accent6>
        <a:srgbClr val="1F8B9D"/>
      </a:accent6>
      <a:hlink>
        <a:srgbClr val="0063B4"/>
      </a:hlink>
      <a:folHlink>
        <a:srgbClr val="800080"/>
      </a:folHlink>
    </a:clrScheme>
    <a:fontScheme name="H1-Gray">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6EBF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ERCOT-Deck16x9" id="{125EE698-CB85-4058-AACD-DC884F8F2E1C}" vid="{A6C0BC8B-928A-4564-881E-5BBBA626C7A4}"/>
    </a:ext>
  </a:extLst>
</a:theme>
</file>

<file path=ppt/theme/theme5.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B0BBBD9C-7E92-43DB-94A8-2B1A716663AF}">
  <we:reference id="5332053f-08b1-4ad5-b936-144d44d33f40" version="2.1.0.2"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ct:contentTypeSchema xmlns:ct="http://schemas.microsoft.com/office/2006/metadata/contentType" xmlns:ma="http://schemas.microsoft.com/office/2006/metadata/properties/metaAttributes" ct:_="" ma:_="" ma:contentTypeName="Document" ma:contentTypeID="0x01010030D93EDF64FCF44F8740877FF3CF455C" ma:contentTypeVersion="12" ma:contentTypeDescription="Create a new document." ma:contentTypeScope="" ma:versionID="075c9113820396b5880dd500538282bb">
  <xsd:schema xmlns:xsd="http://www.w3.org/2001/XMLSchema" xmlns:xs="http://www.w3.org/2001/XMLSchema" xmlns:p="http://schemas.microsoft.com/office/2006/metadata/properties" xmlns:ns2="5d88064f-a5ba-4945-b47f-a45925bb9d75" xmlns:ns3="6af84a98-c70f-4550-a8f9-8cea152074b6" targetNamespace="http://schemas.microsoft.com/office/2006/metadata/properties" ma:root="true" ma:fieldsID="461f639cf08aac5c93694392a9150125" ns2:_="" ns3:_="">
    <xsd:import namespace="5d88064f-a5ba-4945-b47f-a45925bb9d75"/>
    <xsd:import namespace="6af84a98-c70f-4550-a8f9-8cea152074b6"/>
    <xsd:element name="properties">
      <xsd:complexType>
        <xsd:sequence>
          <xsd:element name="documentManagement">
            <xsd:complexType>
              <xsd:all>
                <xsd:element ref="ns2:_dlc_DocId" minOccurs="0"/>
                <xsd:element ref="ns2:_dlc_DocIdUrl" minOccurs="0"/>
                <xsd:element ref="ns2:_dlc_DocIdPersistId" minOccurs="0"/>
                <xsd:element ref="ns3:MediaServiceBillingMetadata" minOccurs="0"/>
                <xsd:element ref="ns3:MediaServiceMetadata" minOccurs="0"/>
                <xsd:element ref="ns3:MediaServiceFastMetadata" minOccurs="0"/>
                <xsd:element ref="ns3:MediaServiceSearchProperties" minOccurs="0"/>
                <xsd:element ref="ns3:MediaServiceDateTaken" minOccurs="0"/>
                <xsd:element ref="ns3:lcf76f155ced4ddcb4097134ff3c332f" minOccurs="0"/>
                <xsd:element ref="ns2:TaxCatchAll" minOccurs="0"/>
                <xsd:element ref="ns3:MediaServiceGenerationTime" minOccurs="0"/>
                <xsd:element ref="ns3:MediaServiceEventHashCode"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d88064f-a5ba-4945-b47f-a45925bb9d75"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dexed="true"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TaxCatchAll" ma:index="18" nillable="true" ma:displayName="Taxonomy Catch All Column" ma:hidden="true" ma:list="{e57e3581-1fcb-4593-9a13-360a2e68c909}" ma:internalName="TaxCatchAll" ma:showField="CatchAllData" ma:web="5d88064f-a5ba-4945-b47f-a45925bb9d75">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af84a98-c70f-4550-a8f9-8cea152074b6" elementFormDefault="qualified">
    <xsd:import namespace="http://schemas.microsoft.com/office/2006/documentManagement/types"/>
    <xsd:import namespace="http://schemas.microsoft.com/office/infopath/2007/PartnerControls"/>
    <xsd:element name="MediaServiceBillingMetadata" ma:index="11" nillable="true" ma:displayName="MediaServiceBillingMetadata" ma:hidden="true" ma:internalName="MediaServiceBillingMetadata" ma:readOnly="true">
      <xsd:simpleType>
        <xsd:restriction base="dms:Note"/>
      </xsd:simpleType>
    </xsd:element>
    <xsd:element name="MediaServiceMetadata" ma:index="12" nillable="true" ma:displayName="MediaServiceMetadata" ma:hidden="true" ma:internalName="MediaServiceMetadata" ma:readOnly="true">
      <xsd:simpleType>
        <xsd:restriction base="dms:Note"/>
      </xsd:simpleType>
    </xsd:element>
    <xsd:element name="MediaServiceFastMetadata" ma:index="13" nillable="true" ma:displayName="MediaServiceFastMetadata" ma:hidden="true" ma:internalName="MediaServiceFastMetadata" ma:readOnly="true">
      <xsd:simpleType>
        <xsd:restriction base="dms:Note"/>
      </xsd:simpleType>
    </xsd:element>
    <xsd:element name="MediaServiceSearchProperties" ma:index="14" nillable="true" ma:displayName="MediaServiceSearchProperties" ma:hidden="true" ma:internalName="MediaServiceSearchProperties" ma:readOnly="true">
      <xsd:simpleType>
        <xsd:restriction base="dms:Note"/>
      </xsd:simpleType>
    </xsd:element>
    <xsd:element name="MediaServiceDateTaken" ma:index="15" nillable="true" ma:displayName="MediaServiceDateTaken" ma:hidden="true" ma:indexed="true" ma:internalName="MediaServiceDateTaken" ma:readOnly="true">
      <xsd:simpleType>
        <xsd:restriction base="dms:Text"/>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18eb3a52-a9ad-454e-96a1-46bb4cd16a89" ma:termSetId="09814cd3-568e-fe90-9814-8d621ff8fb84" ma:anchorId="fba54fb3-c3e1-fe81-a776-ca4b69148c4d" ma:open="true" ma:isKeyword="false">
      <xsd:complexType>
        <xsd:sequence>
          <xsd:element ref="pc:Terms" minOccurs="0" maxOccurs="1"/>
        </xsd:sequence>
      </xsd:complex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TaxCatchAll xmlns="5d88064f-a5ba-4945-b47f-a45925bb9d75" xsi:nil="true"/>
    <lcf76f155ced4ddcb4097134ff3c332f xmlns="6af84a98-c70f-4550-a8f9-8cea152074b6">
      <Terms xmlns="http://schemas.microsoft.com/office/infopath/2007/PartnerControls"/>
    </lcf76f155ced4ddcb4097134ff3c332f>
    <_dlc_DocId xmlns="5d88064f-a5ba-4945-b47f-a45925bb9d75">X34WX6A24U3D-1632162395-606</_dlc_DocId>
    <_dlc_DocIdUrl xmlns="5d88064f-a5ba-4945-b47f-a45925bb9d75">
      <Url>https://mckinsey.sharepoint.com/sites/spe-int-e8popfap80ifvxe5ra1/_layouts/15/DocIdRedir.aspx?ID=X34WX6A24U3D-1632162395-606</Url>
      <Description>X34WX6A24U3D-1632162395-606</Description>
    </_dlc_DocIdUrl>
  </documentManagement>
</p:properties>
</file>

<file path=customXml/itemProps1.xml><?xml version="1.0" encoding="utf-8"?>
<ds:datastoreItem xmlns:ds="http://schemas.openxmlformats.org/officeDocument/2006/customXml" ds:itemID="{3F14045A-A9D2-430D-97C7-592E529A725A}">
  <ds:schemaRefs>
    <ds:schemaRef ds:uri="http://schemas.microsoft.com/sharepoint/v3/contenttype/forms"/>
  </ds:schemaRefs>
</ds:datastoreItem>
</file>

<file path=customXml/itemProps2.xml><?xml version="1.0" encoding="utf-8"?>
<ds:datastoreItem xmlns:ds="http://schemas.openxmlformats.org/officeDocument/2006/customXml" ds:itemID="{47D41B20-5A4F-44C0-86A8-4A466502A5CE}">
  <ds:schemaRefs>
    <ds:schemaRef ds:uri="http://schemas.microsoft.com/sharepoint/events"/>
  </ds:schemaRefs>
</ds:datastoreItem>
</file>

<file path=customXml/itemProps3.xml><?xml version="1.0" encoding="utf-8"?>
<ds:datastoreItem xmlns:ds="http://schemas.openxmlformats.org/officeDocument/2006/customXml" ds:itemID="{8BEFCB77-EFAE-4744-B8B3-6E96BA1C7090}">
  <ds:schemaRefs>
    <ds:schemaRef ds:uri="5d88064f-a5ba-4945-b47f-a45925bb9d75"/>
    <ds:schemaRef ds:uri="6af84a98-c70f-4550-a8f9-8cea152074b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4.xml><?xml version="1.0" encoding="utf-8"?>
<ds:datastoreItem xmlns:ds="http://schemas.openxmlformats.org/officeDocument/2006/customXml" ds:itemID="{91F5CCB3-C396-4DE2-9FB3-96518FFD5FED}">
  <ds:schemaRefs>
    <ds:schemaRef ds:uri="5d88064f-a5ba-4945-b47f-a45925bb9d75"/>
    <ds:schemaRef ds:uri="6af84a98-c70f-4550-a8f9-8cea152074b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8595HP01_CF_16x9_ENG_V1</Template>
  <TotalTime>0</TotalTime>
  <Words>1399</Words>
  <Application>Microsoft Office PowerPoint</Application>
  <PresentationFormat>Widescreen</PresentationFormat>
  <Paragraphs>334</Paragraphs>
  <Slides>6</Slides>
  <Notes>1</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6</vt:i4>
      </vt:variant>
    </vt:vector>
  </HeadingPairs>
  <TitlesOfParts>
    <vt:vector size="16" baseType="lpstr">
      <vt:lpstr>Arial</vt:lpstr>
      <vt:lpstr>Aptos</vt:lpstr>
      <vt:lpstr>Wingdings</vt:lpstr>
      <vt:lpstr>Georgia</vt:lpstr>
      <vt:lpstr>Segoe UI</vt:lpstr>
      <vt:lpstr>White</vt:lpstr>
      <vt:lpstr>Contrast</vt:lpstr>
      <vt:lpstr>ERCOT_Theme16x9</vt:lpstr>
      <vt:lpstr>Horizontal Theme</vt:lpstr>
      <vt:lpstr>think-cell Slide</vt:lpstr>
      <vt:lpstr>Large Load Batch Study Workshop  Stakeholder Feedback Summary ERCOT and McKinsey</vt:lpstr>
      <vt:lpstr>Guiding principles for stakeholder feedback </vt:lpstr>
      <vt:lpstr>Topics with alignment from stakeholder interviews</vt:lpstr>
      <vt:lpstr>Topics with lack of alignment from stakeholder interviews</vt:lpstr>
      <vt:lpstr>Stakeholder engagement master list (1/2)</vt:lpstr>
      <vt:lpstr>Stakeholder engagement master list (2/2)</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Charlotte Fletcher</dc:creator>
  <cp:keywords/>
  <dc:description/>
  <cp:lastModifiedBy>Marco Casiraghi</cp:lastModifiedBy>
  <cp:revision>2</cp:revision>
  <dcterms:created xsi:type="dcterms:W3CDTF">2026-01-22T04:18:53Z</dcterms:created>
  <dcterms:modified xsi:type="dcterms:W3CDTF">2026-01-30T20:35:53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LastEdited">
    <vt:lpwstr>2021-09-23 06:12 PM</vt:lpwstr>
  </property>
  <property fmtid="{D5CDD505-2E9C-101B-9397-08002B2CF9AE}" pid="3" name="ContentTypeId">
    <vt:lpwstr>0x01010030D93EDF64FCF44F8740877FF3CF455C</vt:lpwstr>
  </property>
  <property fmtid="{D5CDD505-2E9C-101B-9397-08002B2CF9AE}" pid="4" name="MediaServiceImageTags">
    <vt:lpwstr/>
  </property>
  <property fmtid="{D5CDD505-2E9C-101B-9397-08002B2CF9AE}" pid="5" name="MSIP_Label_83303d7c-e5a3-4cc8-90eb-69bfd7570ac4_Enabled">
    <vt:lpwstr>True</vt:lpwstr>
  </property>
  <property fmtid="{D5CDD505-2E9C-101B-9397-08002B2CF9AE}" pid="6" name="MSIP_Label_83303d7c-e5a3-4cc8-90eb-69bfd7570ac4_SiteId">
    <vt:lpwstr>cc8936bc-9382-4fff-87cb-6f55999549e7</vt:lpwstr>
  </property>
  <property fmtid="{D5CDD505-2E9C-101B-9397-08002B2CF9AE}" pid="7" name="MSIP_Label_83303d7c-e5a3-4cc8-90eb-69bfd7570ac4_SetDate">
    <vt:lpwstr>2026-01-22T04:26:02Z</vt:lpwstr>
  </property>
  <property fmtid="{D5CDD505-2E9C-101B-9397-08002B2CF9AE}" pid="8" name="MSIP_Label_83303d7c-e5a3-4cc8-90eb-69bfd7570ac4_Name">
    <vt:lpwstr>Client \ Client Confidential</vt:lpwstr>
  </property>
  <property fmtid="{D5CDD505-2E9C-101B-9397-08002B2CF9AE}" pid="9" name="MSIP_Label_83303d7c-e5a3-4cc8-90eb-69bfd7570ac4_ActionId">
    <vt:lpwstr>8052f952-a511-4478-852e-dadf1c64a4db</vt:lpwstr>
  </property>
  <property fmtid="{D5CDD505-2E9C-101B-9397-08002B2CF9AE}" pid="10" name="MSIP_Label_83303d7c-e5a3-4cc8-90eb-69bfd7570ac4_Removed">
    <vt:lpwstr>False</vt:lpwstr>
  </property>
  <property fmtid="{D5CDD505-2E9C-101B-9397-08002B2CF9AE}" pid="11" name="MSIP_Label_83303d7c-e5a3-4cc8-90eb-69bfd7570ac4_Parent">
    <vt:lpwstr>41a75552-f860-45e1-90d5-c0b4fc08c5e4</vt:lpwstr>
  </property>
  <property fmtid="{D5CDD505-2E9C-101B-9397-08002B2CF9AE}" pid="12" name="MSIP_Label_83303d7c-e5a3-4cc8-90eb-69bfd7570ac4_Extended_MSFT_Method">
    <vt:lpwstr>Standard</vt:lpwstr>
  </property>
  <property fmtid="{D5CDD505-2E9C-101B-9397-08002B2CF9AE}" pid="13" name="MSIP_Label_41a75552-f860-45e1-90d5-c0b4fc08c5e4_Enabled">
    <vt:lpwstr>True</vt:lpwstr>
  </property>
  <property fmtid="{D5CDD505-2E9C-101B-9397-08002B2CF9AE}" pid="14" name="MSIP_Label_41a75552-f860-45e1-90d5-c0b4fc08c5e4_SiteId">
    <vt:lpwstr>cc8936bc-9382-4fff-87cb-6f55999549e7</vt:lpwstr>
  </property>
  <property fmtid="{D5CDD505-2E9C-101B-9397-08002B2CF9AE}" pid="15" name="MSIP_Label_41a75552-f860-45e1-90d5-c0b4fc08c5e4_SetDate">
    <vt:lpwstr>2026-01-22T04:26:02Z</vt:lpwstr>
  </property>
  <property fmtid="{D5CDD505-2E9C-101B-9397-08002B2CF9AE}" pid="16" name="MSIP_Label_41a75552-f860-45e1-90d5-c0b4fc08c5e4_Name">
    <vt:lpwstr>Client</vt:lpwstr>
  </property>
  <property fmtid="{D5CDD505-2E9C-101B-9397-08002B2CF9AE}" pid="17" name="MSIP_Label_41a75552-f860-45e1-90d5-c0b4fc08c5e4_ActionId">
    <vt:lpwstr>50636b0a-9b9d-481e-a881-d82e499ac39f</vt:lpwstr>
  </property>
  <property fmtid="{D5CDD505-2E9C-101B-9397-08002B2CF9AE}" pid="18" name="MSIP_Label_41a75552-f860-45e1-90d5-c0b4fc08c5e4_Extended_MSFT_Method">
    <vt:lpwstr>Standard</vt:lpwstr>
  </property>
  <property fmtid="{D5CDD505-2E9C-101B-9397-08002B2CF9AE}" pid="19" name="Sensitivity">
    <vt:lpwstr>Client \ Client Confidential Client</vt:lpwstr>
  </property>
  <property fmtid="{D5CDD505-2E9C-101B-9397-08002B2CF9AE}" pid="20" name="_dlc_DocIdItemGuid">
    <vt:lpwstr>ee251640-61f9-481f-9c40-f1e0fc419882</vt:lpwstr>
  </property>
</Properties>
</file>